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931" r:id="rId6"/>
  </p:sldMasterIdLst>
  <p:notesMasterIdLst>
    <p:notesMasterId r:id="rId22"/>
  </p:notesMasterIdLst>
  <p:handoutMasterIdLst>
    <p:handoutMasterId r:id="rId23"/>
  </p:handoutMasterIdLst>
  <p:sldIdLst>
    <p:sldId id="259" r:id="rId7"/>
    <p:sldId id="6051" r:id="rId8"/>
    <p:sldId id="6046" r:id="rId9"/>
    <p:sldId id="5824" r:id="rId10"/>
    <p:sldId id="6048" r:id="rId11"/>
    <p:sldId id="6016" r:id="rId12"/>
    <p:sldId id="6033" r:id="rId13"/>
    <p:sldId id="306" r:id="rId14"/>
    <p:sldId id="6002" r:id="rId15"/>
    <p:sldId id="6054" r:id="rId16"/>
    <p:sldId id="6055" r:id="rId17"/>
    <p:sldId id="6052" r:id="rId18"/>
    <p:sldId id="6049" r:id="rId19"/>
    <p:sldId id="320" r:id="rId20"/>
    <p:sldId id="6053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0A6B3C2C-0443-4998-8F02-9B56C9A513C9}">
          <p14:sldIdLst>
            <p14:sldId id="259"/>
          </p14:sldIdLst>
        </p14:section>
        <p14:section name="Digital LBS - Oversigt" id="{C96E1846-7778-498F-B0B4-39162E795374}">
          <p14:sldIdLst>
            <p14:sldId id="6051"/>
            <p14:sldId id="6046"/>
            <p14:sldId id="5824"/>
            <p14:sldId id="6048"/>
            <p14:sldId id="6016"/>
            <p14:sldId id="6033"/>
            <p14:sldId id="306"/>
            <p14:sldId id="6002"/>
            <p14:sldId id="6054"/>
          </p14:sldIdLst>
        </p14:section>
        <p14:section name="LD-BIM" id="{43BC914E-FE95-4D38-A83E-50D90E4195EB}">
          <p14:sldIdLst>
            <p14:sldId id="6055"/>
          </p14:sldIdLst>
        </p14:section>
        <p14:section name="Granskning" id="{6268FE62-AC77-4F5A-A774-17942729AC07}">
          <p14:sldIdLst>
            <p14:sldId id="6052"/>
            <p14:sldId id="6049"/>
            <p14:sldId id="320"/>
            <p14:sldId id="605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DCD5CF"/>
    <a:srgbClr val="BB0E23"/>
    <a:srgbClr val="DABD9D"/>
    <a:srgbClr val="407169"/>
    <a:srgbClr val="FFD9D9"/>
    <a:srgbClr val="E6DAFE"/>
    <a:srgbClr val="DBCAFE"/>
    <a:srgbClr val="FFEECD"/>
    <a:srgbClr val="FFDB93"/>
    <a:srgbClr val="98E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35" autoAdjust="0"/>
    <p:restoredTop sz="74077" autoAdjust="0"/>
  </p:normalViewPr>
  <p:slideViewPr>
    <p:cSldViewPr snapToGrid="0" showGuides="1">
      <p:cViewPr varScale="1">
        <p:scale>
          <a:sx n="50" d="100"/>
          <a:sy n="50" d="100"/>
        </p:scale>
        <p:origin x="1168" y="40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493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16/06/2022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86E511-D742-4EFE-90B5-C9FC42762E0F}" type="datetimeFigureOut">
              <a:rPr lang="en-GB" smtClean="0"/>
              <a:t>16/06/2022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6CFAD1-D197-4A88-B173-A6412E995EE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23163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ide-project med min </a:t>
            </a:r>
            <a:r>
              <a:rPr lang="en-US" dirty="0" err="1"/>
              <a:t>medarbejder</a:t>
            </a:r>
            <a:r>
              <a:rPr lang="en-US" dirty="0"/>
              <a:t> Mads Hol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pen-source BIM-viewer </a:t>
            </a:r>
            <a:r>
              <a:rPr lang="en-US" dirty="0" err="1"/>
              <a:t>baseret</a:t>
            </a:r>
            <a:r>
              <a:rPr lang="en-US" dirty="0"/>
              <a:t> </a:t>
            </a:r>
            <a:r>
              <a:rPr lang="en-US" dirty="0" err="1"/>
              <a:t>af</a:t>
            </a:r>
            <a:r>
              <a:rPr lang="en-US" dirty="0"/>
              <a:t> IFC.j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noProof="0" dirty="0"/>
              <a:t>Uddannelses</a:t>
            </a:r>
            <a:r>
              <a:rPr lang="en-US" dirty="0"/>
              <a:t>-platform for Linked Building Data </a:t>
            </a:r>
            <a:r>
              <a:rPr lang="da-DK" noProof="0" dirty="0"/>
              <a:t>hvor</a:t>
            </a:r>
            <a:r>
              <a:rPr lang="en-US" dirty="0"/>
              <a:t> man </a:t>
            </a:r>
            <a:r>
              <a:rPr lang="da-DK" dirty="0"/>
              <a:t>kan skrive forespørgsler for at få oplysninger om bygningselementer og deres relationer (https://ld-bim.web.app/?duplex=tru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/>
              <a:t>Afprøvning af muligheder af IFC.js (https://ifcjs.github.io/info/docs/Introduction/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75507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noProof="0" dirty="0"/>
              <a:t>BART Prægranskningsværktøj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noProof="0" dirty="0"/>
              <a:t>Værktøj gransker bygningsmodeller </a:t>
            </a:r>
            <a:r>
              <a:rPr lang="da-DK" noProof="0" dirty="0" err="1"/>
              <a:t>ift</a:t>
            </a:r>
            <a:r>
              <a:rPr lang="da-DK" noProof="0" dirty="0"/>
              <a:t> til forskellige emner og returnerer en rappor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noProof="0" dirty="0"/>
              <a:t>Formål at får en hurtigt overblik om kvaliteten af grundlæggende information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noProof="0" dirty="0"/>
              <a:t>Efter modellen er godkendt fra prægranskning, mere s</a:t>
            </a:r>
            <a:r>
              <a:rPr lang="da-DK" b="0" i="0" noProof="0" dirty="0">
                <a:solidFill>
                  <a:srgbClr val="000000"/>
                </a:solidFill>
                <a:effectLst/>
                <a:latin typeface="-apple-system"/>
              </a:rPr>
              <a:t>ofistikerede</a:t>
            </a:r>
            <a:r>
              <a:rPr lang="en-US" b="0" i="0" dirty="0">
                <a:solidFill>
                  <a:srgbClr val="000000"/>
                </a:solidFill>
                <a:effectLst/>
                <a:latin typeface="-apple-system"/>
              </a:rPr>
              <a:t> </a:t>
            </a:r>
            <a:r>
              <a:rPr lang="da-DK" b="0" i="0" noProof="0" dirty="0">
                <a:solidFill>
                  <a:srgbClr val="000000"/>
                </a:solidFill>
                <a:effectLst/>
                <a:latin typeface="-apple-system"/>
              </a:rPr>
              <a:t>gransknings-værktøjer (fx </a:t>
            </a:r>
            <a:r>
              <a:rPr lang="da-DK" b="0" i="0" noProof="0" dirty="0" err="1">
                <a:solidFill>
                  <a:srgbClr val="000000"/>
                </a:solidFill>
                <a:effectLst/>
                <a:latin typeface="-apple-system"/>
              </a:rPr>
              <a:t>Solibri</a:t>
            </a:r>
            <a:r>
              <a:rPr lang="da-DK" b="0" i="0" noProof="0" dirty="0">
                <a:solidFill>
                  <a:srgbClr val="000000"/>
                </a:solidFill>
                <a:effectLst/>
                <a:latin typeface="-apple-system"/>
              </a:rPr>
              <a:t>) kan bruges og har mindre fejl</a:t>
            </a:r>
          </a:p>
          <a:p>
            <a:pPr marL="628650" lvl="1" indent="-171450">
              <a:buFont typeface="Wingdings" panose="05000000000000000000" pitchFamily="2" charset="2"/>
              <a:buChar char="à"/>
            </a:pPr>
            <a:r>
              <a:rPr lang="da-DK" b="0" i="0" noProof="0" dirty="0">
                <a:solidFill>
                  <a:srgbClr val="000000"/>
                </a:solidFill>
                <a:effectLst/>
                <a:latin typeface="-apple-system"/>
                <a:sym typeface="Wingdings" panose="05000000000000000000" pitchFamily="2" charset="2"/>
              </a:rPr>
              <a:t>Projektgranskerne får kun relevante fejl i yderligere </a:t>
            </a:r>
            <a:r>
              <a:rPr lang="da-DK" b="0" i="0" noProof="0" dirty="0">
                <a:solidFill>
                  <a:srgbClr val="000000"/>
                </a:solidFill>
                <a:effectLst/>
                <a:latin typeface="-apple-system"/>
              </a:rPr>
              <a:t>gransknings-skrid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da-DK" b="0" i="0" noProof="0" dirty="0">
              <a:solidFill>
                <a:srgbClr val="000000"/>
              </a:solidFill>
              <a:effectLst/>
              <a:latin typeface="-apple-system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37435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Udviklingsprojekt med arkitekter for at koordinere designrammer og designændringer på tværs af disciplin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Designrammer og krav er administreret i en </a:t>
            </a:r>
            <a:r>
              <a:rPr lang="da-DK" dirty="0" err="1"/>
              <a:t>web-applikation</a:t>
            </a:r>
            <a:r>
              <a:rPr lang="da-DK" dirty="0"/>
              <a:t> (næste side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BIM-data fra </a:t>
            </a:r>
            <a:r>
              <a:rPr lang="da-DK" dirty="0" err="1"/>
              <a:t>revit</a:t>
            </a:r>
            <a:r>
              <a:rPr lang="da-DK" dirty="0"/>
              <a:t> er brugt for at tjekke overensstemmelsen af designrammer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Almindelige designkrav og overtrædelser er vist både </a:t>
            </a:r>
            <a:r>
              <a:rPr lang="da-DK" dirty="0" err="1"/>
              <a:t>direkt</a:t>
            </a:r>
            <a:r>
              <a:rPr lang="da-DK" dirty="0"/>
              <a:t> i </a:t>
            </a:r>
            <a:r>
              <a:rPr lang="da-DK" dirty="0" err="1"/>
              <a:t>Revit</a:t>
            </a:r>
            <a:r>
              <a:rPr lang="da-DK" dirty="0"/>
              <a:t> og i </a:t>
            </a:r>
            <a:r>
              <a:rPr lang="da-DK" dirty="0" err="1"/>
              <a:t>web-applikationen</a:t>
            </a:r>
            <a:endParaRPr lang="da-DK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Designer får informationen om mulige overtrædelse </a:t>
            </a:r>
            <a:r>
              <a:rPr lang="da-DK" dirty="0" err="1"/>
              <a:t>ift</a:t>
            </a:r>
            <a:r>
              <a:rPr lang="da-DK" dirty="0"/>
              <a:t> design-guiden </a:t>
            </a:r>
            <a:r>
              <a:rPr lang="da-DK" dirty="0" err="1"/>
              <a:t>direkt</a:t>
            </a:r>
            <a:r>
              <a:rPr lang="da-DK" dirty="0"/>
              <a:t> i tegningsværktøjet og så kan man undgå mange fejl allerede hvor de opstå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1469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noProof="0" dirty="0"/>
              <a:t>Workflow for mængde- og lokationsbaseret planlæg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noProof="0" dirty="0"/>
              <a:t>Lokationsopdeling og –tildeling af byggemodeller med Dynamo værktøj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noProof="0" dirty="0"/>
              <a:t>Eksport til en graf-database af alle mængder og relationer (topologi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noProof="0" dirty="0" err="1"/>
              <a:t>Web-applikation</a:t>
            </a:r>
            <a:endParaRPr lang="da-DK" noProof="0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a-DK" noProof="0" dirty="0"/>
              <a:t>Mængdeoversigt for hver etage/loka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a-DK" noProof="0" dirty="0"/>
              <a:t>Gruppering af bygningsdele ift. bestemte egenskaber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a-DK" noProof="0" dirty="0"/>
              <a:t>Tilknytning af standard aktiviteter til element-grupper (alle arbejder som skal uføres for at bygge bygningsdele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a-DK" noProof="0" dirty="0"/>
              <a:t>Tilpasse aktiviteter og tilføje flere aktiviteter som ikke har mængder i byggemodellern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a-DK" noProof="0" dirty="0"/>
              <a:t>Automatisk varighed-beregning for lokations-baserede aktiviteter, </a:t>
            </a:r>
            <a:r>
              <a:rPr lang="da-DK" noProof="0" dirty="0" err="1"/>
              <a:t>ift</a:t>
            </a:r>
            <a:r>
              <a:rPr lang="da-DK" noProof="0" dirty="0"/>
              <a:t> de mængder som er tilknytte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a-DK" noProof="0" dirty="0"/>
              <a:t>Eksport af lokations-baserede aktiviteter til VICO Schedule Planner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a-DK" noProof="0" dirty="0"/>
              <a:t>Import af færdig tidsplan fra VICO Schedule Planner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a-DK" noProof="0" dirty="0"/>
              <a:t>Visualisering af tidsplanen med 3D-model (farvekodning </a:t>
            </a:r>
            <a:r>
              <a:rPr lang="da-DK" noProof="0" dirty="0" err="1"/>
              <a:t>ift</a:t>
            </a:r>
            <a:r>
              <a:rPr lang="da-DK" noProof="0" dirty="0"/>
              <a:t> element-gruppering, aktivitetstype eller tid hvornår elementerne er bygget) </a:t>
            </a:r>
            <a:r>
              <a:rPr lang="da-DK" noProof="0" dirty="0">
                <a:sym typeface="Wingdings" panose="05000000000000000000" pitchFamily="2" charset="2"/>
              </a:rPr>
              <a:t> Alle informationer er tilgængelig for klart oversigt (fx 4D-simulering)</a:t>
            </a:r>
            <a:endParaRPr lang="da-DK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9629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 err="1"/>
              <a:t>Oversigt</a:t>
            </a:r>
            <a:r>
              <a:rPr lang="en-GB" dirty="0"/>
              <a:t> over dynamo </a:t>
            </a:r>
            <a:r>
              <a:rPr lang="en-GB" dirty="0" err="1"/>
              <a:t>værktøj</a:t>
            </a:r>
            <a:r>
              <a:rPr lang="en-GB" dirty="0"/>
              <a:t> </a:t>
            </a:r>
            <a:r>
              <a:rPr lang="da-DK" dirty="0"/>
              <a:t>for l</a:t>
            </a:r>
            <a:r>
              <a:rPr lang="da-DK" sz="1200" dirty="0"/>
              <a:t>okationsopdeling og mængdeudtræ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200" dirty="0"/>
              <a:t>Hvis element-typer er defineret at man kan skære dem, værktøjet skærer fx </a:t>
            </a:r>
            <a:r>
              <a:rPr lang="da-DK" sz="1200" dirty="0" err="1"/>
              <a:t>insitu</a:t>
            </a:r>
            <a:r>
              <a:rPr lang="da-DK" sz="1200" dirty="0"/>
              <a:t> vægge hvor de overlapper to arbejdsområder (lokatione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200" dirty="0"/>
              <a:t>Reference til </a:t>
            </a:r>
            <a:r>
              <a:rPr lang="da-DK" sz="1200" dirty="0" err="1"/>
              <a:t>parent</a:t>
            </a:r>
            <a:r>
              <a:rPr lang="da-DK" sz="1200" dirty="0"/>
              <a:t>-element er gemt i propert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200" dirty="0"/>
              <a:t>Resultat er en lokations-opdelte model (se </a:t>
            </a:r>
            <a:r>
              <a:rPr lang="da-DK" sz="1200" dirty="0" err="1"/>
              <a:t>farvekodete</a:t>
            </a:r>
            <a:r>
              <a:rPr lang="da-DK" sz="1200" dirty="0"/>
              <a:t> råhus-model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200" dirty="0"/>
              <a:t>Mængdeudtræk til databasen (alle informationer og relationer fra bygningsdele er eksporteret til en database)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97176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Teaser-Video </a:t>
            </a:r>
            <a:r>
              <a:rPr lang="en-GB" dirty="0" err="1"/>
              <a:t>som</a:t>
            </a:r>
            <a:r>
              <a:rPr lang="en-GB" dirty="0"/>
              <a:t> </a:t>
            </a:r>
            <a:r>
              <a:rPr lang="en-GB" dirty="0" err="1"/>
              <a:t>forklarer</a:t>
            </a:r>
            <a:r>
              <a:rPr lang="en-GB" dirty="0"/>
              <a:t> workflow </a:t>
            </a:r>
            <a:r>
              <a:rPr lang="en-GB" dirty="0" err="1"/>
              <a:t>fra</a:t>
            </a:r>
            <a:r>
              <a:rPr lang="en-GB" dirty="0"/>
              <a:t> de 2 </a:t>
            </a:r>
            <a:r>
              <a:rPr lang="en-GB" dirty="0" err="1"/>
              <a:t>foregående</a:t>
            </a:r>
            <a:r>
              <a:rPr lang="en-GB" dirty="0"/>
              <a:t> slid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36891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Byggepladsmodel</a:t>
            </a:r>
            <a:r>
              <a:rPr lang="en-US" dirty="0"/>
              <a:t> for her </a:t>
            </a:r>
            <a:r>
              <a:rPr lang="en-US" dirty="0" err="1"/>
              <a:t>byggefase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Koordinering</a:t>
            </a:r>
            <a:r>
              <a:rPr lang="en-US" dirty="0"/>
              <a:t> </a:t>
            </a:r>
            <a:r>
              <a:rPr lang="en-US" dirty="0" err="1"/>
              <a:t>af</a:t>
            </a:r>
            <a:r>
              <a:rPr lang="en-US" dirty="0"/>
              <a:t> </a:t>
            </a:r>
            <a:r>
              <a:rPr lang="en-US" dirty="0" err="1"/>
              <a:t>forksellige</a:t>
            </a:r>
            <a:r>
              <a:rPr lang="en-US" dirty="0"/>
              <a:t> </a:t>
            </a:r>
            <a:r>
              <a:rPr lang="en-US" dirty="0" err="1"/>
              <a:t>områder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byggepladsen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Afprøvning</a:t>
            </a:r>
            <a:r>
              <a:rPr lang="en-US" dirty="0"/>
              <a:t> </a:t>
            </a:r>
            <a:r>
              <a:rPr lang="en-US" dirty="0" err="1"/>
              <a:t>af</a:t>
            </a:r>
            <a:r>
              <a:rPr lang="en-US" dirty="0"/>
              <a:t> </a:t>
            </a:r>
            <a:r>
              <a:rPr lang="en-US" dirty="0" err="1"/>
              <a:t>alternativer</a:t>
            </a:r>
            <a:r>
              <a:rPr lang="en-US" dirty="0"/>
              <a:t> for material-</a:t>
            </a:r>
            <a:r>
              <a:rPr lang="en-US" dirty="0" err="1"/>
              <a:t>områder</a:t>
            </a:r>
            <a:r>
              <a:rPr lang="en-US" dirty="0"/>
              <a:t>, </a:t>
            </a:r>
            <a:r>
              <a:rPr lang="en-US" dirty="0" err="1"/>
              <a:t>køre</a:t>
            </a:r>
            <a:r>
              <a:rPr lang="en-US" dirty="0"/>
              <a:t>-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angruter</a:t>
            </a:r>
            <a:r>
              <a:rPr lang="en-US" dirty="0"/>
              <a:t> 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asis for </a:t>
            </a:r>
            <a:r>
              <a:rPr lang="en-US" dirty="0" err="1"/>
              <a:t>koordingeringsmøder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33088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/>
              <a:t>Koordineringspla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/>
              <a:t>Overblik over alle ugeplaner af alle entreprenør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/>
              <a:t>Koordinering af planlagte arbejd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/>
              <a:t>Mulighed for at kommunikere og gemme problemer, risikoområder og dokumentation af fremskridt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3989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Lokationsdefinition</a:t>
            </a:r>
            <a:r>
              <a:rPr lang="en-US" dirty="0"/>
              <a:t> </a:t>
            </a:r>
            <a:r>
              <a:rPr lang="en-US" dirty="0" err="1"/>
              <a:t>af</a:t>
            </a:r>
            <a:r>
              <a:rPr lang="en-US" dirty="0"/>
              <a:t> et tunnel proje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Definering</a:t>
            </a:r>
            <a:r>
              <a:rPr lang="en-US" dirty="0"/>
              <a:t> </a:t>
            </a:r>
            <a:r>
              <a:rPr lang="en-US" dirty="0" err="1"/>
              <a:t>af</a:t>
            </a:r>
            <a:r>
              <a:rPr lang="en-US" dirty="0"/>
              <a:t> </a:t>
            </a:r>
            <a:r>
              <a:rPr lang="en-US" dirty="0" err="1"/>
              <a:t>hoved-projektfaser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asis for </a:t>
            </a:r>
            <a:r>
              <a:rPr lang="en-US" dirty="0" err="1"/>
              <a:t>tidsplanlægning</a:t>
            </a:r>
            <a:r>
              <a:rPr lang="en-US" dirty="0"/>
              <a:t> med Magnet Proje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ulighed</a:t>
            </a:r>
            <a:r>
              <a:rPr lang="en-US" dirty="0"/>
              <a:t> for </a:t>
            </a:r>
            <a:r>
              <a:rPr lang="en-US" dirty="0" err="1"/>
              <a:t>byggeprojekt-simuler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1310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noProof="0" dirty="0"/>
              <a:t>Udviklingsprojekt-forslag til Pihl (Kun wireframes, men projekt var planlagt at tage ~70 time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noProof="0" dirty="0"/>
              <a:t>Simpel applikation for at visualisere arbejdsaktiviteter af hver uge og etage, opdelt til arbejdsområder (lokatione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noProof="0" dirty="0"/>
              <a:t>Mulighed for at se kollisioner eller risiko-områder hvor flere discipliner arbejder i det samme område samtidi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noProof="0" dirty="0"/>
              <a:t>Aktualisering af hvad er planlagt med de faktiske aktiviteter som entreprenører vil udfø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noProof="0" dirty="0"/>
              <a:t>Koordinering af ugelige aktiviteter på byggeplads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noProof="0" dirty="0"/>
              <a:t>Mulighed for fremdrifts-dokumentation og kommunikation af problemer, risiko-områder, </a:t>
            </a:r>
            <a:r>
              <a:rPr lang="da-DK" noProof="0" dirty="0" err="1"/>
              <a:t>etc</a:t>
            </a:r>
            <a:r>
              <a:rPr lang="da-DK" noProof="0" dirty="0"/>
              <a:t> med kommentar-funkti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30797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første</a:t>
            </a:r>
            <a:r>
              <a:rPr lang="en-US" dirty="0"/>
              <a:t> web-appli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4D-visualisering </a:t>
            </a:r>
            <a:r>
              <a:rPr lang="en-US" dirty="0" err="1"/>
              <a:t>af</a:t>
            </a:r>
            <a:r>
              <a:rPr lang="en-US" dirty="0"/>
              <a:t> </a:t>
            </a:r>
            <a:r>
              <a:rPr lang="en-US" dirty="0" err="1"/>
              <a:t>Børneriget</a:t>
            </a:r>
            <a:r>
              <a:rPr lang="en-US" dirty="0"/>
              <a:t> </a:t>
            </a:r>
            <a:r>
              <a:rPr lang="en-US" dirty="0" err="1"/>
              <a:t>råhus-tidsplan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56608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sv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openxmlformats.org/officeDocument/2006/relationships/image" Target="../media/image13.png"/><Relationship Id="rId7" Type="http://schemas.openxmlformats.org/officeDocument/2006/relationships/image" Target="../media/image6.svg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" Type="http://schemas.openxmlformats.org/officeDocument/2006/relationships/image" Target="../media/image12.png"/><Relationship Id="rId16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9.png"/><Relationship Id="rId5" Type="http://schemas.openxmlformats.org/officeDocument/2006/relationships/image" Target="../media/image15.svg"/><Relationship Id="rId15" Type="http://schemas.openxmlformats.org/officeDocument/2006/relationships/image" Target="../media/image23.png"/><Relationship Id="rId10" Type="http://schemas.openxmlformats.org/officeDocument/2006/relationships/image" Target="../media/image18.svg"/><Relationship Id="rId19" Type="http://schemas.openxmlformats.org/officeDocument/2006/relationships/image" Target="../media/image27.png"/><Relationship Id="rId4" Type="http://schemas.openxmlformats.org/officeDocument/2006/relationships/image" Target="../media/image14.png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493620" y="0"/>
            <a:ext cx="4698380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8800" y="1271239"/>
            <a:ext cx="6599561" cy="4888261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Logo on top">
            <a:extLst>
              <a:ext uri="{FF2B5EF4-FFF2-40B4-BE49-F238E27FC236}">
                <a16:creationId xmlns:a16="http://schemas.microsoft.com/office/drawing/2014/main" id="{DFBC9626-F092-47C9-AA7F-877A4D548D6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2A8B5DC-E0B6-4F5B-9EF6-BD08944C6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6598961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A3C355-B5B0-4F74-AEFA-EFA87C8185A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9" name="Rectangle 8" descr="{&#10; &quot;SkabelonDesign&quot;: {&#10; &quot;textualValue&quot;: &quot;&lt;key1/&gt;&quot;,&#10; &quot;bindingCollection&quot;: {&#10; &quot;key1&quot;: {&quot;SkabelonDesign&quot;:{&quot;type&quot;:&quot;text&quot;,&quot;binding&quot;:&quot;Doc.CustomXml._dlc_DocId&quot;}}&#10;  }&#10; }&#10;}">
            <a:extLst>
              <a:ext uri="{FF2B5EF4-FFF2-40B4-BE49-F238E27FC236}">
                <a16:creationId xmlns:a16="http://schemas.microsoft.com/office/drawing/2014/main" id="{E4CB9400-A254-4274-AE59-C166401CA3C2}"/>
              </a:ext>
            </a:extLst>
          </p:cNvPr>
          <p:cNvSpPr/>
          <p:nvPr userDrawn="1"/>
        </p:nvSpPr>
        <p:spPr>
          <a:xfrm>
            <a:off x="833714" y="6366582"/>
            <a:ext cx="3174521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VPTDFWQ563D2-1375287143-18042</a:t>
            </a:r>
          </a:p>
        </p:txBody>
      </p:sp>
    </p:spTree>
    <p:extLst>
      <p:ext uri="{BB962C8B-B14F-4D97-AF65-F5344CB8AC3E}">
        <p14:creationId xmlns:p14="http://schemas.microsoft.com/office/powerpoint/2010/main" val="72900878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383">
          <p15:clr>
            <a:srgbClr val="A4A3A4"/>
          </p15:clr>
        </p15:guide>
        <p15:guide id="2" pos="472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11C568C-1366-4320-8865-29A4BCBD3CF8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1DD3273-B680-4780-B64F-DB4D639685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07F7715-539C-419D-B06E-CE58168241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0A8B5B0-B1D0-40CC-AA40-F684963A8D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B97C30A8-CAF2-41AD-9341-C55E22BECA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4296EB66-8D90-405F-B3F4-4A9EC00288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A322DCF-FFFA-4ABB-A7BE-07DCE364A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8DDCC1B0-685A-4C94-9B2A-5DA51DC4BD6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C3EF5DDD-BE51-4032-9C12-A72766DCD6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942F715-4FB3-44DC-99FF-3B3F17A28A2A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668DE7-32E7-4B9B-9526-AE30433F4862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accent4"/>
                </a:solidFill>
              </a:rPr>
              <a:pPr/>
              <a:t>‹#›</a:t>
            </a:fld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226862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839">
          <p15:clr>
            <a:srgbClr val="A4A3A4"/>
          </p15:clr>
        </p15:guide>
        <p15:guide id="2" pos="3653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s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6901368-4EA8-43C6-85D2-8F5806EB6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7554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462508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992416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27462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7553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62508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992415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27461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7553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462507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992413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27459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60C2AD8-F799-44A4-8DDA-EDF7465EE8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432451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111">
          <p15:clr>
            <a:srgbClr val="A4A3A4"/>
          </p15:clr>
        </p15:guide>
        <p15:guide id="2" orient="horz" pos="2018">
          <p15:clr>
            <a:srgbClr val="A4A3A4"/>
          </p15:clr>
        </p15:guide>
        <p15:guide id="3" orient="horz" pos="2925">
          <p15:clr>
            <a:srgbClr val="A4A3A4"/>
          </p15:clr>
        </p15:guide>
        <p15:guide id="4" pos="439">
          <p15:clr>
            <a:srgbClr val="A4A3A4"/>
          </p15:clr>
        </p15:guide>
        <p15:guide id="5" pos="1952">
          <p15:clr>
            <a:srgbClr val="A4A3A4"/>
          </p15:clr>
        </p15:guide>
        <p15:guide id="6" pos="2181">
          <p15:clr>
            <a:srgbClr val="A4A3A4"/>
          </p15:clr>
        </p15:guide>
        <p15:guide id="7" pos="3694">
          <p15:clr>
            <a:srgbClr val="A4A3A4"/>
          </p15:clr>
        </p15:guide>
        <p15:guide id="8" pos="3923">
          <p15:clr>
            <a:srgbClr val="A4A3A4"/>
          </p15:clr>
        </p15:guide>
        <p15:guide id="9" pos="5435">
          <p15:clr>
            <a:srgbClr val="A4A3A4"/>
          </p15:clr>
        </p15:guide>
        <p15:guide id="10" pos="5664">
          <p15:clr>
            <a:srgbClr val="A4A3A4"/>
          </p15:clr>
        </p15:guide>
        <p15:guide id="11" pos="7179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4261448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11AF70C-4FFB-4814-BA67-BEF4AB12EAC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A25B022-A987-46E0-A735-17F8473A3558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5FEA3CA-05C1-473E-929F-93A72C953A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8800" y="4485737"/>
            <a:ext cx="5540550" cy="1673763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221EF28-4459-40E0-85E3-97CFD71229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2800" y="4485737"/>
            <a:ext cx="5540400" cy="1673763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93333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825">
          <p15:clr>
            <a:srgbClr val="A4A3A4"/>
          </p15:clr>
        </p15:guide>
        <p15:guide id="2" pos="3716">
          <p15:clr>
            <a:srgbClr val="A4A3A4"/>
          </p15:clr>
        </p15:guide>
        <p15:guide id="3" pos="3963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6857999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8" name="Logo on top">
            <a:extLst>
              <a:ext uri="{FF2B5EF4-FFF2-40B4-BE49-F238E27FC236}">
                <a16:creationId xmlns:a16="http://schemas.microsoft.com/office/drawing/2014/main" id="{655DB364-E850-4C04-AB58-1D6949A7761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D4B4C4D5-C379-4BE9-A1DE-B763BE10C4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White line">
            <a:extLst>
              <a:ext uri="{FF2B5EF4-FFF2-40B4-BE49-F238E27FC236}">
                <a16:creationId xmlns:a16="http://schemas.microsoft.com/office/drawing/2014/main" id="{B3EFD42D-2BB3-4D67-8B48-795DDC62CD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9D09BE9-A839-4C19-A8EE-AF2BFDC59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5663945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7999"/>
          </a:xfrm>
          <a:prstGeom prst="rect">
            <a:avLst/>
          </a:prstGeom>
          <a:solidFill>
            <a:schemeClr val="accent6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Logo on top">
            <a:extLst>
              <a:ext uri="{FF2B5EF4-FFF2-40B4-BE49-F238E27FC236}">
                <a16:creationId xmlns:a16="http://schemas.microsoft.com/office/drawing/2014/main" id="{65075359-2A7A-450A-9B61-C30CE49C322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White line">
            <a:extLst>
              <a:ext uri="{FF2B5EF4-FFF2-40B4-BE49-F238E27FC236}">
                <a16:creationId xmlns:a16="http://schemas.microsoft.com/office/drawing/2014/main" id="{107ED4AD-E914-48D0-8885-D4F4198401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5" name="White line">
            <a:extLst>
              <a:ext uri="{FF2B5EF4-FFF2-40B4-BE49-F238E27FC236}">
                <a16:creationId xmlns:a16="http://schemas.microsoft.com/office/drawing/2014/main" id="{C1A7A007-4677-42A8-9824-D5CAB828B4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2353EBE-706E-4F26-8C7D-B11CBD9D8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3590563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02-05-2017</a:t>
            </a:r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>
              <a:noFill/>
            </a:endParaRPr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E62EE4E3-C4C4-4FC3-A816-7A23933DD733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1" name="White line">
            <a:extLst>
              <a:ext uri="{FF2B5EF4-FFF2-40B4-BE49-F238E27FC236}">
                <a16:creationId xmlns:a16="http://schemas.microsoft.com/office/drawing/2014/main" id="{B16DEDED-6C8F-4CF2-AFA4-2AA6843B21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2" name="White line">
            <a:extLst>
              <a:ext uri="{FF2B5EF4-FFF2-40B4-BE49-F238E27FC236}">
                <a16:creationId xmlns:a16="http://schemas.microsoft.com/office/drawing/2014/main" id="{5D1CA2FF-258B-4403-BC7E-7A21CDA005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D6E7766-B064-47AD-88DF-F66F05D38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74B0496-0B0B-4655-8059-FD85131AC81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101092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02-05-2017</a:t>
            </a:r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>
              <a:noFill/>
            </a:endParaRPr>
          </a:p>
        </p:txBody>
      </p:sp>
      <p:sp>
        <p:nvSpPr>
          <p:cNvPr id="18" name="White line">
            <a:extLst>
              <a:ext uri="{FF2B5EF4-FFF2-40B4-BE49-F238E27FC236}">
                <a16:creationId xmlns:a16="http://schemas.microsoft.com/office/drawing/2014/main" id="{C3E84107-2491-4BA2-852A-1F51940A8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70686F02-A6B5-448B-9940-D8F3E52B88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3FD39135-7880-41E4-B06B-A8C7F1FC867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273A3B-39E6-4A70-B196-DD3516FD0C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2949883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97463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292389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94926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7463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92389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4926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97463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92389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4926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2178E2D9-12FA-44EB-9399-062F9145CF1E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13054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1825">
          <p15:clr>
            <a:srgbClr val="A4A3A4"/>
          </p15:clr>
        </p15:guide>
        <p15:guide id="2" pos="1950">
          <p15:clr>
            <a:srgbClr val="A4A3A4"/>
          </p15:clr>
        </p15:guide>
        <p15:guide id="3" pos="3775">
          <p15:clr>
            <a:srgbClr val="A4A3A4"/>
          </p15:clr>
        </p15:guide>
        <p15:guide id="4" pos="3902">
          <p15:clr>
            <a:srgbClr val="A4A3A4"/>
          </p15:clr>
        </p15:guide>
        <p15:guide id="5" pos="5728">
          <p15:clr>
            <a:srgbClr val="A4A3A4"/>
          </p15:clr>
        </p15:guide>
        <p15:guide id="6" pos="5852">
          <p15:clr>
            <a:srgbClr val="A4A3A4"/>
          </p15:clr>
        </p15:guide>
        <p15:guide id="7" orient="horz" pos="1335">
          <p15:clr>
            <a:srgbClr val="A4A3A4"/>
          </p15:clr>
        </p15:guide>
        <p15:guide id="8" orient="horz" pos="1210">
          <p15:clr>
            <a:srgbClr val="A4A3A4"/>
          </p15:clr>
        </p15:guide>
        <p15:guide id="9" orient="horz" pos="2546">
          <p15:clr>
            <a:srgbClr val="A4A3A4"/>
          </p15:clr>
        </p15:guide>
        <p15:guide id="10" orient="horz" pos="267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97A650-4712-4097-931A-5EE2BCDC4014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19650" y="0"/>
            <a:ext cx="7372350" cy="68580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and insert image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0"/>
            <a:ext cx="43056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0E74145-CF5A-4071-A2BE-2C6FA63A35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2380541"/>
            <a:ext cx="4305600" cy="3779330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60000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ogo on top">
            <a:extLst>
              <a:ext uri="{FF2B5EF4-FFF2-40B4-BE49-F238E27FC236}">
                <a16:creationId xmlns:a16="http://schemas.microsoft.com/office/drawing/2014/main" id="{6DF414E4-381E-49EB-AE58-12043C54FDC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4D9553C-B70F-4221-8C05-67C34C6F5F0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96964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036">
          <p15:clr>
            <a:srgbClr val="A4A3A4"/>
          </p15:clr>
        </p15:guide>
        <p15:guide id="2" pos="2938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ma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39304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43059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C01BBC1-6088-4A5C-BB43-18C3AD5488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2380541"/>
            <a:ext cx="4305600" cy="3779330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78E2B5-22BB-47BE-A4E4-FDDF70ABD65D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4A5F82C-F561-4E43-91A4-85B9CEEF7B0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235327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938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E65-C530-4290-986A-FB215B0F933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400" y="1314448"/>
            <a:ext cx="5540398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F22894F-B793-4F80-9F3B-C921E0A14A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1954800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FCF2E0-BB49-4491-94D2-B90F9291BCC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92202" y="1314448"/>
            <a:ext cx="5540398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4F958320-7923-485F-A705-308A16EADBF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92800" y="1954800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>
              <a:defRPr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EDE1A-9C78-4568-A47E-47F47AA964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31EF4F5-27FF-4BC7-9411-638B999E1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4075232-5F4D-4FC9-86C6-5CB7CB93532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/>
              <a:pPr/>
              <a:t>‹#›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01015648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963">
          <p15:clr>
            <a:srgbClr val="A4A3A4"/>
          </p15:clr>
        </p15:guide>
        <p15:guide id="2" pos="3716">
          <p15:clr>
            <a:srgbClr val="A4A3A4"/>
          </p15:clr>
        </p15:guide>
        <p15:guide id="3" orient="horz" pos="827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02-05-2017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3BAE68-619C-4E72-824F-F72BF1532871}"/>
              </a:ext>
            </a:extLst>
          </p:cNvPr>
          <p:cNvCxnSpPr/>
          <p:nvPr/>
        </p:nvCxnSpPr>
        <p:spPr>
          <a:xfrm flipH="1">
            <a:off x="2852101" y="4008391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C2C21B-CD4C-49CB-B367-2437B48D3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400" y="1234439"/>
            <a:ext cx="4531294" cy="2151497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>
              <a:buNone/>
              <a:defRPr i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“ Click to add quote.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6B9DF4D-F2BC-4ED0-9111-08038ED808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2400" y="3557015"/>
            <a:ext cx="4531294" cy="274312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 lang="da-DK" sz="1400" b="0" i="0" smtClean="0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- Insert name of </a:t>
            </a:r>
            <a:r>
              <a:rPr lang="en-US" dirty="0" err="1"/>
              <a:t>quote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9929B9F-11AA-41A9-8ABF-8BCDD8479B88}"/>
              </a:ext>
            </a:extLst>
          </p:cNvPr>
          <p:cNvCxnSpPr/>
          <p:nvPr/>
        </p:nvCxnSpPr>
        <p:spPr>
          <a:xfrm flipH="1">
            <a:off x="840806" y="1155954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526A2FA-6FEB-47DD-8D22-35F2EB96812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096000" y="1"/>
            <a:ext cx="6096000" cy="68579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image or icon</a:t>
            </a:r>
          </a:p>
          <a:p>
            <a:pPr lvl="0"/>
            <a:r>
              <a:rPr lang="en-US" dirty="0"/>
              <a:t>													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da-DK" dirty="0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B2B94D57-3FE2-4256-8FB4-1491CE5D1A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8290" y="6375818"/>
            <a:ext cx="51186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130694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839">
          <p15:clr>
            <a:srgbClr val="A4A3A4"/>
          </p15:clr>
        </p15:guide>
        <p15:guide id="2" pos="530">
          <p15:clr>
            <a:srgbClr val="A4A3A4"/>
          </p15:clr>
        </p15:guide>
        <p15:guide id="3" pos="3385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7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02-05-2017</a:t>
            </a:r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510D58F-CFEA-4848-9016-8CF12C266B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3200" y="1440000"/>
            <a:ext cx="6840000" cy="71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28563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NIRAS SD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tx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7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02-05-2017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0F6FCC7-0B3D-49C7-8ADF-C39654C9B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550" y="1440000"/>
            <a:ext cx="6840000" cy="711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76776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02-05-2017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DD956E29-1BC4-45C0-8DA6-E93C4087A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0528455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acts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1D69198-452E-4A16-BA0F-DA0C681DA6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595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1D69198-452E-4A16-BA0F-DA0C681DA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D4D02CCD-754C-485C-A11B-E3D7545F5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C044FC66-9F4B-45CC-9ACC-4FD8A77270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7A1FDB-D80D-499E-9847-704F166F36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8150" y="176400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7FE5E57D-CA99-4A62-90B5-399E760F706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6593" y="3294751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213528FE-2D0F-4594-81EC-A33B658B87D6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8150" y="482579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84964C0D-ED6D-450B-A222-39167CC9C563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370638" y="176400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2F21E808-CB4B-46D3-8384-F2985B649CF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369081" y="3294751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988548A-34E5-4B1E-846F-E6EFFEA2CC57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369081" y="482579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9F410AC-9BD6-4F9A-A2CE-355F84B97C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95162" y="1763712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6A713E59-1747-4F11-84B1-535B75DEEF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395162" y="3294751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39BDACB-DE68-479E-B621-BDEDCA8890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95162" y="4825790"/>
            <a:ext cx="4499999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8CA7D1D-7EF5-4891-888B-935F28867B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32600" y="1763712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4A69F13-32AF-4F39-AC25-C1AE9BB10C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32600" y="3294751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3251C952-8A33-49CF-9AAD-6FCF6D1BB0A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32600" y="4825790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DD2BA-B706-4B3B-8D63-4B1BAEAF2D3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290876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111">
          <p15:clr>
            <a:srgbClr val="A4A3A4"/>
          </p15:clr>
        </p15:guide>
        <p15:guide id="2" pos="3716">
          <p15:clr>
            <a:srgbClr val="A4A3A4"/>
          </p15:clr>
        </p15:guide>
        <p15:guide id="3" pos="4013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A9B90C-7BC0-4FB7-9360-47D5BE4787E5}"/>
              </a:ext>
            </a:extLst>
          </p:cNvPr>
          <p:cNvSpPr/>
          <p:nvPr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008606-37EB-42EF-8D91-B8BA41737358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B8EEF2-F6F0-4392-9B4F-679635295F85}"/>
              </a:ext>
            </a:extLst>
          </p:cNvPr>
          <p:cNvSpPr/>
          <p:nvPr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C0EAD1-45A5-4F30-B47D-F5B98B70DCFC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CA03142-9AF7-426C-B896-42F2627143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000" y="425450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BCFF17A-8745-4131-80D1-814733A6C1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24000" y="425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  <a:p>
            <a:pPr lvl="2"/>
            <a:endParaRPr lang="en-US" dirty="0"/>
          </a:p>
          <a:p>
            <a:pPr lvl="3"/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24E20B2-841C-4FB9-A8A0-913B9ED0B2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000" y="3854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  <a:lvl2pPr>
              <a:defRPr b="1">
                <a:solidFill>
                  <a:schemeClr val="accent5"/>
                </a:solidFill>
                <a:latin typeface="+mn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3E6EA14F-0168-4FFE-9AE8-ED3133679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4000" y="3873358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02-05-2017</a:t>
            </a:r>
            <a:endParaRPr lang="en-GB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2763289C-9708-4506-9CC7-3B98B96B8FE2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28000" y="1534023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E939C39-BEBD-4340-BA07-06BD7F4DE8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624000" y="5039602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 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287395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0" name="Freeform: Shape 7431">
            <a:extLst>
              <a:ext uri="{FF2B5EF4-FFF2-40B4-BE49-F238E27FC236}">
                <a16:creationId xmlns:a16="http://schemas.microsoft.com/office/drawing/2014/main" id="{1954DBDB-8065-4224-B809-19548EB3D126}"/>
              </a:ext>
            </a:extLst>
          </p:cNvPr>
          <p:cNvSpPr/>
          <p:nvPr/>
        </p:nvSpPr>
        <p:spPr>
          <a:xfrm>
            <a:off x="3589422" y="2289826"/>
            <a:ext cx="5017763" cy="953908"/>
          </a:xfrm>
          <a:custGeom>
            <a:avLst/>
            <a:gdLst>
              <a:gd name="connsiteX0" fmla="*/ 10816 w 13304"/>
              <a:gd name="connsiteY0" fmla="*/ 0 h 10000"/>
              <a:gd name="connsiteX1" fmla="*/ 3304 w 13304"/>
              <a:gd name="connsiteY1" fmla="*/ 0 h 10000"/>
              <a:gd name="connsiteX2" fmla="*/ 4173 w 13304"/>
              <a:gd name="connsiteY2" fmla="*/ 344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4173 w 13304"/>
              <a:gd name="connsiteY2" fmla="*/ 349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919 w 13304"/>
              <a:gd name="connsiteY2" fmla="*/ 344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0 h 10000"/>
              <a:gd name="connsiteX1" fmla="*/ 63 w 13304"/>
              <a:gd name="connsiteY1" fmla="*/ 0 h 10000"/>
              <a:gd name="connsiteX2" fmla="*/ 919 w 13304"/>
              <a:gd name="connsiteY2" fmla="*/ 339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04" h="10000">
                <a:moveTo>
                  <a:pt x="10816" y="0"/>
                </a:moveTo>
                <a:lnTo>
                  <a:pt x="63" y="0"/>
                </a:lnTo>
                <a:lnTo>
                  <a:pt x="919" y="3394"/>
                </a:lnTo>
                <a:lnTo>
                  <a:pt x="0" y="6889"/>
                </a:lnTo>
                <a:lnTo>
                  <a:pt x="8378" y="6889"/>
                </a:lnTo>
                <a:lnTo>
                  <a:pt x="10781" y="6889"/>
                </a:lnTo>
                <a:cubicBezTo>
                  <a:pt x="11216" y="6917"/>
                  <a:pt x="11559" y="8306"/>
                  <a:pt x="11559" y="10000"/>
                </a:cubicBezTo>
                <a:lnTo>
                  <a:pt x="13304" y="10000"/>
                </a:lnTo>
                <a:cubicBezTo>
                  <a:pt x="13304" y="4528"/>
                  <a:pt x="12190" y="56"/>
                  <a:pt x="10816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" name="Freeform: Shape 7432">
            <a:extLst>
              <a:ext uri="{FF2B5EF4-FFF2-40B4-BE49-F238E27FC236}">
                <a16:creationId xmlns:a16="http://schemas.microsoft.com/office/drawing/2014/main" id="{163A1AE6-7163-4E61-B438-D7538E3D291D}"/>
              </a:ext>
            </a:extLst>
          </p:cNvPr>
          <p:cNvSpPr/>
          <p:nvPr/>
        </p:nvSpPr>
        <p:spPr>
          <a:xfrm>
            <a:off x="1828932" y="2290839"/>
            <a:ext cx="1752312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60" h="248">
                <a:moveTo>
                  <a:pt x="660" y="124"/>
                </a:moveTo>
                <a:lnTo>
                  <a:pt x="536" y="0"/>
                </a:lnTo>
                <a:lnTo>
                  <a:pt x="0" y="0"/>
                </a:lnTo>
                <a:lnTo>
                  <a:pt x="124" y="124"/>
                </a:lnTo>
                <a:lnTo>
                  <a:pt x="0" y="248"/>
                </a:lnTo>
                <a:lnTo>
                  <a:pt x="536" y="248"/>
                </a:ln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2" name="Freeform: Shape 7433">
            <a:extLst>
              <a:ext uri="{FF2B5EF4-FFF2-40B4-BE49-F238E27FC236}">
                <a16:creationId xmlns:a16="http://schemas.microsoft.com/office/drawing/2014/main" id="{49585EA3-0E22-422D-8464-2588246E6110}"/>
              </a:ext>
            </a:extLst>
          </p:cNvPr>
          <p:cNvSpPr/>
          <p:nvPr/>
        </p:nvSpPr>
        <p:spPr>
          <a:xfrm>
            <a:off x="3340328" y="2289826"/>
            <a:ext cx="478888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81" h="248">
                <a:moveTo>
                  <a:pt x="181" y="124"/>
                </a:moveTo>
                <a:lnTo>
                  <a:pt x="57" y="0"/>
                </a:lnTo>
                <a:lnTo>
                  <a:pt x="0" y="0"/>
                </a:lnTo>
                <a:lnTo>
                  <a:pt x="125" y="124"/>
                </a:lnTo>
                <a:lnTo>
                  <a:pt x="0" y="248"/>
                </a:lnTo>
                <a:lnTo>
                  <a:pt x="57" y="24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3" name="Freeform: Shape 7434">
            <a:extLst>
              <a:ext uri="{FF2B5EF4-FFF2-40B4-BE49-F238E27FC236}">
                <a16:creationId xmlns:a16="http://schemas.microsoft.com/office/drawing/2014/main" id="{83D91EAF-1DCE-46BF-B2EA-D3E993E5800E}"/>
              </a:ext>
            </a:extLst>
          </p:cNvPr>
          <p:cNvSpPr/>
          <p:nvPr/>
        </p:nvSpPr>
        <p:spPr>
          <a:xfrm>
            <a:off x="8095399" y="4795672"/>
            <a:ext cx="468056" cy="659147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77" h="249">
                <a:moveTo>
                  <a:pt x="53" y="0"/>
                </a:moveTo>
                <a:lnTo>
                  <a:pt x="0" y="0"/>
                </a:lnTo>
                <a:lnTo>
                  <a:pt x="124" y="124"/>
                </a:lnTo>
                <a:lnTo>
                  <a:pt x="0" y="249"/>
                </a:lnTo>
                <a:lnTo>
                  <a:pt x="53" y="249"/>
                </a:lnTo>
                <a:lnTo>
                  <a:pt x="177" y="124"/>
                </a:ln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" name="Freeform: Shape 7435">
            <a:extLst>
              <a:ext uri="{FF2B5EF4-FFF2-40B4-BE49-F238E27FC236}">
                <a16:creationId xmlns:a16="http://schemas.microsoft.com/office/drawing/2014/main" id="{DE934865-3D90-4A87-8545-42420C2D9948}"/>
              </a:ext>
            </a:extLst>
          </p:cNvPr>
          <p:cNvSpPr/>
          <p:nvPr/>
        </p:nvSpPr>
        <p:spPr>
          <a:xfrm>
            <a:off x="2941354" y="3243734"/>
            <a:ext cx="5660007" cy="125408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130" h="473">
                <a:moveTo>
                  <a:pt x="2130" y="0"/>
                </a:moveTo>
                <a:lnTo>
                  <a:pt x="1881" y="0"/>
                </a:lnTo>
                <a:cubicBezTo>
                  <a:pt x="1881" y="62"/>
                  <a:pt x="1832" y="112"/>
                  <a:pt x="1770" y="112"/>
                </a:cubicBezTo>
                <a:lnTo>
                  <a:pt x="1427" y="112"/>
                </a:lnTo>
                <a:lnTo>
                  <a:pt x="360" y="112"/>
                </a:lnTo>
                <a:lnTo>
                  <a:pt x="352" y="112"/>
                </a:lnTo>
                <a:lnTo>
                  <a:pt x="352" y="113"/>
                </a:lnTo>
                <a:cubicBezTo>
                  <a:pt x="157" y="117"/>
                  <a:pt x="0" y="277"/>
                  <a:pt x="0" y="473"/>
                </a:cubicBezTo>
                <a:lnTo>
                  <a:pt x="248" y="473"/>
                </a:lnTo>
                <a:cubicBezTo>
                  <a:pt x="248" y="411"/>
                  <a:pt x="298" y="361"/>
                  <a:pt x="360" y="361"/>
                </a:cubicBezTo>
                <a:lnTo>
                  <a:pt x="703" y="361"/>
                </a:lnTo>
                <a:lnTo>
                  <a:pt x="1770" y="361"/>
                </a:lnTo>
                <a:cubicBezTo>
                  <a:pt x="1969" y="361"/>
                  <a:pt x="2130" y="199"/>
                  <a:pt x="2130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5" name="Freeform: Shape 7436">
            <a:extLst>
              <a:ext uri="{FF2B5EF4-FFF2-40B4-BE49-F238E27FC236}">
                <a16:creationId xmlns:a16="http://schemas.microsoft.com/office/drawing/2014/main" id="{2A8F5714-E4D5-4865-ACC8-10BEADD88251}"/>
              </a:ext>
            </a:extLst>
          </p:cNvPr>
          <p:cNvSpPr/>
          <p:nvPr/>
        </p:nvSpPr>
        <p:spPr>
          <a:xfrm>
            <a:off x="2940267" y="4497817"/>
            <a:ext cx="5375305" cy="957002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023" h="361">
                <a:moveTo>
                  <a:pt x="1899" y="112"/>
                </a:moveTo>
                <a:lnTo>
                  <a:pt x="703" y="112"/>
                </a:lnTo>
                <a:lnTo>
                  <a:pt x="365" y="112"/>
                </a:lnTo>
                <a:lnTo>
                  <a:pt x="360" y="112"/>
                </a:lnTo>
                <a:cubicBezTo>
                  <a:pt x="298" y="112"/>
                  <a:pt x="248" y="62"/>
                  <a:pt x="248" y="0"/>
                </a:cubicBezTo>
                <a:lnTo>
                  <a:pt x="0" y="0"/>
                </a:lnTo>
                <a:cubicBezTo>
                  <a:pt x="0" y="199"/>
                  <a:pt x="161" y="361"/>
                  <a:pt x="360" y="361"/>
                </a:cubicBezTo>
                <a:cubicBezTo>
                  <a:pt x="362" y="361"/>
                  <a:pt x="364" y="360"/>
                  <a:pt x="365" y="360"/>
                </a:cubicBezTo>
                <a:lnTo>
                  <a:pt x="365" y="361"/>
                </a:lnTo>
                <a:lnTo>
                  <a:pt x="1899" y="361"/>
                </a:lnTo>
                <a:lnTo>
                  <a:pt x="2023" y="236"/>
                </a:ln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7F1A13-94A3-4965-BF53-47EA7D7DA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3013" y="2286732"/>
            <a:ext cx="1000588" cy="658627"/>
          </a:xfrm>
          <a:prstGeom prst="rect">
            <a:avLst/>
          </a:prstGeom>
        </p:spPr>
        <p:txBody>
          <a:bodyPr lIns="0" tIns="72000" rIns="0" bIns="7200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F2C5D21-9E46-4D38-A03E-22CFCF181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01361" y="4768777"/>
            <a:ext cx="2208325" cy="1887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292DCBC-07FD-4465-94D4-ADF57C0A2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1361" y="4987896"/>
            <a:ext cx="2208325" cy="1045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0630EBE-9039-4521-9E1F-C84C23ACC1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3246" y="4300114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4F54025-0825-4A2D-BBF9-2B05CBE411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399" y="2953781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AF8CE11-293C-42C9-97D0-D448CBF3EF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9970" y="1803420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987F7F5-68C3-4D38-AA24-8282756AB2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387" y="3060982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452DEAA-C428-4391-98C5-14016843BC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9970" y="4313985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53822-CDD6-4063-8132-19DCE17409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42771" y="4794659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D90B23A-71D3-4CD4-827D-65A236B063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28189" y="2288293"/>
            <a:ext cx="3771619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F6B2D7C-9DE2-4C43-9EB8-24E8FE9751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8189" y="3541262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BEFA90D-D6E4-4EDC-922E-B12E9CF6A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15C7A406-EEAE-45A0-B148-EFB6F249F59E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2B2F7F1-05EF-4074-9D69-78BA224E3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5456313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BE981E9-87B2-40BB-8449-60F93DCE7B08}"/>
              </a:ext>
            </a:extLst>
          </p:cNvPr>
          <p:cNvCxnSpPr/>
          <p:nvPr/>
        </p:nvCxnSpPr>
        <p:spPr>
          <a:xfrm>
            <a:off x="9796571" y="3279611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2C72E3A-91CF-4BD5-9AA5-E94DAAA667BA}"/>
              </a:ext>
            </a:extLst>
          </p:cNvPr>
          <p:cNvCxnSpPr/>
          <p:nvPr/>
        </p:nvCxnSpPr>
        <p:spPr>
          <a:xfrm>
            <a:off x="3596961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14046B0-37D6-45D0-A3E3-271C678D5723}"/>
              </a:ext>
            </a:extLst>
          </p:cNvPr>
          <p:cNvCxnSpPr/>
          <p:nvPr/>
        </p:nvCxnSpPr>
        <p:spPr>
          <a:xfrm>
            <a:off x="5143253" y="3499708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604EA8B-078F-44DE-BACB-05D12AD13DBE}"/>
              </a:ext>
            </a:extLst>
          </p:cNvPr>
          <p:cNvCxnSpPr/>
          <p:nvPr/>
        </p:nvCxnSpPr>
        <p:spPr>
          <a:xfrm>
            <a:off x="6689545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E11864-AD98-4C67-88BB-1802ED063728}"/>
              </a:ext>
            </a:extLst>
          </p:cNvPr>
          <p:cNvCxnSpPr/>
          <p:nvPr/>
        </p:nvCxnSpPr>
        <p:spPr>
          <a:xfrm>
            <a:off x="8258295" y="351224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A7B4C17-FF4A-4A40-8D35-A5E54F42CC52}"/>
              </a:ext>
            </a:extLst>
          </p:cNvPr>
          <p:cNvCxnSpPr>
            <a:cxnSpLocks/>
            <a:stCxn id="41" idx="2"/>
            <a:endCxn id="42" idx="0"/>
          </p:cNvCxnSpPr>
          <p:nvPr/>
        </p:nvCxnSpPr>
        <p:spPr>
          <a:xfrm>
            <a:off x="2049741" y="3488395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Shape 978">
            <a:extLst>
              <a:ext uri="{FF2B5EF4-FFF2-40B4-BE49-F238E27FC236}">
                <a16:creationId xmlns:a16="http://schemas.microsoft.com/office/drawing/2014/main" id="{11F35FA9-2F8A-42A5-96A9-784D2A81EBF3}"/>
              </a:ext>
            </a:extLst>
          </p:cNvPr>
          <p:cNvSpPr/>
          <p:nvPr/>
        </p:nvSpPr>
        <p:spPr>
          <a:xfrm>
            <a:off x="18263508" y="6680560"/>
            <a:ext cx="1840627" cy="1840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lIns="182778" tIns="91364" rIns="182778" bIns="91364" anchor="ctr" anchorCtr="0">
            <a:noAutofit/>
          </a:bodyPr>
          <a:lstStyle/>
          <a:p>
            <a:pPr algn="ctr"/>
            <a:endParaRPr sz="7198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Shape 985">
            <a:extLst>
              <a:ext uri="{FF2B5EF4-FFF2-40B4-BE49-F238E27FC236}">
                <a16:creationId xmlns:a16="http://schemas.microsoft.com/office/drawing/2014/main" id="{BE2C25E0-D6F4-4E65-8C4C-167BE5E48FB8}"/>
              </a:ext>
            </a:extLst>
          </p:cNvPr>
          <p:cNvSpPr txBox="1"/>
          <p:nvPr/>
        </p:nvSpPr>
        <p:spPr>
          <a:xfrm>
            <a:off x="18757036" y="6807059"/>
            <a:ext cx="1344848" cy="709025"/>
          </a:xfrm>
          <a:prstGeom prst="rect">
            <a:avLst/>
          </a:prstGeom>
          <a:noFill/>
          <a:ln>
            <a:noFill/>
          </a:ln>
        </p:spPr>
        <p:txBody>
          <a:bodyPr lIns="487510" tIns="243754" rIns="487510" bIns="243754" anchor="ctr" anchorCtr="0">
            <a:noAutofit/>
          </a:bodyPr>
          <a:lstStyle/>
          <a:p>
            <a:pPr algn="ctr">
              <a:buSzPct val="25000"/>
            </a:pPr>
            <a:r>
              <a:rPr lang="en-US" sz="5400" dirty="0">
                <a:latin typeface="Lato" charset="0"/>
                <a:ea typeface="Lato" charset="0"/>
                <a:cs typeface="Lato" charset="0"/>
                <a:sym typeface="Roboto"/>
              </a:rPr>
              <a:t>95%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700444D-7C2B-4B25-A710-D9219F9139FC}"/>
              </a:ext>
            </a:extLst>
          </p:cNvPr>
          <p:cNvGrpSpPr/>
          <p:nvPr/>
        </p:nvGrpSpPr>
        <p:grpSpPr>
          <a:xfrm>
            <a:off x="2049741" y="3699702"/>
            <a:ext cx="7757982" cy="0"/>
            <a:chOff x="1429030" y="4482059"/>
            <a:chExt cx="7757982" cy="0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68635DB-6207-4C84-8660-5061659B259F}"/>
                </a:ext>
              </a:extLst>
            </p:cNvPr>
            <p:cNvCxnSpPr/>
            <p:nvPr/>
          </p:nvCxnSpPr>
          <p:spPr>
            <a:xfrm>
              <a:off x="7641506" y="4482059"/>
              <a:ext cx="1545506" cy="0"/>
            </a:xfrm>
            <a:prstGeom prst="line">
              <a:avLst/>
            </a:prstGeom>
            <a:ln w="47625">
              <a:solidFill>
                <a:schemeClr val="accent5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6B739FF1-5712-4DB0-8430-BA8D0DC596BB}"/>
                </a:ext>
              </a:extLst>
            </p:cNvPr>
            <p:cNvCxnSpPr/>
            <p:nvPr/>
          </p:nvCxnSpPr>
          <p:spPr>
            <a:xfrm>
              <a:off x="6096000" y="4482059"/>
              <a:ext cx="1545506" cy="0"/>
            </a:xfrm>
            <a:prstGeom prst="line">
              <a:avLst/>
            </a:prstGeom>
            <a:ln w="47625">
              <a:solidFill>
                <a:schemeClr val="accent4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F8E77A8-BB88-4670-8248-0969F3FD3213}"/>
                </a:ext>
              </a:extLst>
            </p:cNvPr>
            <p:cNvCxnSpPr/>
            <p:nvPr/>
          </p:nvCxnSpPr>
          <p:spPr>
            <a:xfrm>
              <a:off x="4520042" y="4482059"/>
              <a:ext cx="1545506" cy="0"/>
            </a:xfrm>
            <a:prstGeom prst="line">
              <a:avLst/>
            </a:prstGeom>
            <a:ln w="47625">
              <a:solidFill>
                <a:schemeClr val="accent3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BA6C91D-9FE3-4788-8EE7-CCA555B1EEC4}"/>
                </a:ext>
              </a:extLst>
            </p:cNvPr>
            <p:cNvCxnSpPr/>
            <p:nvPr/>
          </p:nvCxnSpPr>
          <p:spPr>
            <a:xfrm>
              <a:off x="2974536" y="4482059"/>
              <a:ext cx="1545506" cy="0"/>
            </a:xfrm>
            <a:prstGeom prst="line">
              <a:avLst/>
            </a:prstGeom>
            <a:ln w="47625">
              <a:solidFill>
                <a:schemeClr val="accent2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4DC9CA4D-D057-4476-B2A0-13C4821579CD}"/>
                </a:ext>
              </a:extLst>
            </p:cNvPr>
            <p:cNvCxnSpPr/>
            <p:nvPr/>
          </p:nvCxnSpPr>
          <p:spPr>
            <a:xfrm>
              <a:off x="1429030" y="4482059"/>
              <a:ext cx="1545506" cy="0"/>
            </a:xfrm>
            <a:prstGeom prst="line">
              <a:avLst/>
            </a:prstGeom>
            <a:ln w="47625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844CA913-F4C1-4DB5-B995-1E0A80463A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56527" y="3158709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5793D357-8EF8-4CAE-805D-47972E268E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9673" y="4183643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78FDE029-30E8-47F4-BC7D-4257490F0A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9112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C029697-6EFE-456C-AC9E-EC23F4E854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16654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F37A66BD-B3EF-4324-913C-694CCE3518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6134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089C68E1-FA14-4AD8-B642-29AF31BF56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4461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B4ED695E-B5CC-4269-9555-EECC483EAE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6081" y="1658526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B6DEF11C-0D64-4853-8B03-D9D5BB02F6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281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37C069A4-DD10-453D-BF6A-5184E83C3C6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7540" y="3170023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lang="da-DK" sz="2000" kern="1200" dirty="0" smtClean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FE20E936-F3F5-45CE-82F2-35FC2F4EA0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8870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7625BD09-3203-4652-BD7F-CEF9F5F96F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9003" y="3170022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A2E283F7-DC27-453F-AB66-46C8E65B9A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1450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36" name="Title Placeholder 1">
            <a:extLst>
              <a:ext uri="{FF2B5EF4-FFF2-40B4-BE49-F238E27FC236}">
                <a16:creationId xmlns:a16="http://schemas.microsoft.com/office/drawing/2014/main" id="{5CD14FE5-4515-42DB-BF78-8E40B70B18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C873D042-86FC-4DD7-8659-3E8B16BC106C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62D76354-693F-4135-9AFE-6BF70C26F8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0664590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eps/F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Rectangle 1">
            <a:extLst>
              <a:ext uri="{FF2B5EF4-FFF2-40B4-BE49-F238E27FC236}">
                <a16:creationId xmlns:a16="http://schemas.microsoft.com/office/drawing/2014/main" id="{454D4296-DE79-4E2A-BCC0-3ADDB1C861D0}"/>
              </a:ext>
            </a:extLst>
          </p:cNvPr>
          <p:cNvSpPr>
            <a:spLocks/>
          </p:cNvSpPr>
          <p:nvPr/>
        </p:nvSpPr>
        <p:spPr bwMode="auto">
          <a:xfrm>
            <a:off x="617937" y="4646778"/>
            <a:ext cx="2586723" cy="1559642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8" name="Freeform 2">
            <a:extLst>
              <a:ext uri="{FF2B5EF4-FFF2-40B4-BE49-F238E27FC236}">
                <a16:creationId xmlns:a16="http://schemas.microsoft.com/office/drawing/2014/main" id="{DE85CC72-31D9-4FB4-A53F-2DB99D1230B4}"/>
              </a:ext>
            </a:extLst>
          </p:cNvPr>
          <p:cNvSpPr>
            <a:spLocks/>
          </p:cNvSpPr>
          <p:nvPr/>
        </p:nvSpPr>
        <p:spPr bwMode="auto">
          <a:xfrm>
            <a:off x="2498476" y="5496594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9" name="Isosceles Triangle 13">
            <a:extLst>
              <a:ext uri="{FF2B5EF4-FFF2-40B4-BE49-F238E27FC236}">
                <a16:creationId xmlns:a16="http://schemas.microsoft.com/office/drawing/2014/main" id="{50B33FB1-08C2-4A81-8E4C-371CC068BFB7}"/>
              </a:ext>
            </a:extLst>
          </p:cNvPr>
          <p:cNvSpPr/>
          <p:nvPr/>
        </p:nvSpPr>
        <p:spPr>
          <a:xfrm>
            <a:off x="2205672" y="4349975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D77D49D3-317A-4DC3-B752-6897144AC6C1}"/>
              </a:ext>
            </a:extLst>
          </p:cNvPr>
          <p:cNvSpPr>
            <a:spLocks/>
          </p:cNvSpPr>
          <p:nvPr/>
        </p:nvSpPr>
        <p:spPr bwMode="auto">
          <a:xfrm>
            <a:off x="2498476" y="3937221"/>
            <a:ext cx="2586723" cy="1559642"/>
          </a:xfrm>
          <a:prstGeom prst="rect">
            <a:avLst/>
          </a:prstGeom>
          <a:solidFill>
            <a:schemeClr val="accent2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7" name="Freeform 2">
            <a:extLst>
              <a:ext uri="{FF2B5EF4-FFF2-40B4-BE49-F238E27FC236}">
                <a16:creationId xmlns:a16="http://schemas.microsoft.com/office/drawing/2014/main" id="{457386D2-97D5-4068-BBB2-8A17958BC3B2}"/>
              </a:ext>
            </a:extLst>
          </p:cNvPr>
          <p:cNvSpPr>
            <a:spLocks/>
          </p:cNvSpPr>
          <p:nvPr/>
        </p:nvSpPr>
        <p:spPr bwMode="auto">
          <a:xfrm>
            <a:off x="4375118" y="477701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8" name="Isosceles Triangle 13">
            <a:extLst>
              <a:ext uri="{FF2B5EF4-FFF2-40B4-BE49-F238E27FC236}">
                <a16:creationId xmlns:a16="http://schemas.microsoft.com/office/drawing/2014/main" id="{FC1669B0-5A62-4DDF-8C43-1BFBA928F847}"/>
              </a:ext>
            </a:extLst>
          </p:cNvPr>
          <p:cNvSpPr/>
          <p:nvPr/>
        </p:nvSpPr>
        <p:spPr>
          <a:xfrm>
            <a:off x="4093482" y="3636558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59" name="Rectangle 4">
            <a:extLst>
              <a:ext uri="{FF2B5EF4-FFF2-40B4-BE49-F238E27FC236}">
                <a16:creationId xmlns:a16="http://schemas.microsoft.com/office/drawing/2014/main" id="{4A011F1A-0FA5-4E66-925B-AFB790D1F8A2}"/>
              </a:ext>
            </a:extLst>
          </p:cNvPr>
          <p:cNvSpPr>
            <a:spLocks/>
          </p:cNvSpPr>
          <p:nvPr/>
        </p:nvSpPr>
        <p:spPr bwMode="auto">
          <a:xfrm>
            <a:off x="4379015" y="322298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0" name="Freeform 2">
            <a:extLst>
              <a:ext uri="{FF2B5EF4-FFF2-40B4-BE49-F238E27FC236}">
                <a16:creationId xmlns:a16="http://schemas.microsoft.com/office/drawing/2014/main" id="{E4E6E509-A2A3-45E5-AA73-C0C342C0530D}"/>
              </a:ext>
            </a:extLst>
          </p:cNvPr>
          <p:cNvSpPr>
            <a:spLocks/>
          </p:cNvSpPr>
          <p:nvPr/>
        </p:nvSpPr>
        <p:spPr bwMode="auto">
          <a:xfrm>
            <a:off x="6255657" y="4032477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1" name="Isosceles Triangle 13">
            <a:extLst>
              <a:ext uri="{FF2B5EF4-FFF2-40B4-BE49-F238E27FC236}">
                <a16:creationId xmlns:a16="http://schemas.microsoft.com/office/drawing/2014/main" id="{FA6BC49C-CE66-4EDE-B634-BAFD9BCD9C06}"/>
              </a:ext>
            </a:extLst>
          </p:cNvPr>
          <p:cNvSpPr/>
          <p:nvPr/>
        </p:nvSpPr>
        <p:spPr>
          <a:xfrm>
            <a:off x="5952244" y="2924297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2" name="Rectangle 4">
            <a:extLst>
              <a:ext uri="{FF2B5EF4-FFF2-40B4-BE49-F238E27FC236}">
                <a16:creationId xmlns:a16="http://schemas.microsoft.com/office/drawing/2014/main" id="{D5ED9D00-3D77-4343-BFE3-D2844651DD47}"/>
              </a:ext>
            </a:extLst>
          </p:cNvPr>
          <p:cNvSpPr>
            <a:spLocks/>
          </p:cNvSpPr>
          <p:nvPr/>
        </p:nvSpPr>
        <p:spPr bwMode="auto">
          <a:xfrm>
            <a:off x="6259554" y="248241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3" name="AutoShape 13">
            <a:extLst>
              <a:ext uri="{FF2B5EF4-FFF2-40B4-BE49-F238E27FC236}">
                <a16:creationId xmlns:a16="http://schemas.microsoft.com/office/drawing/2014/main" id="{B3F45C16-B4A2-444F-86A8-C0446007E780}"/>
              </a:ext>
            </a:extLst>
          </p:cNvPr>
          <p:cNvSpPr>
            <a:spLocks/>
          </p:cNvSpPr>
          <p:nvPr/>
        </p:nvSpPr>
        <p:spPr bwMode="auto">
          <a:xfrm>
            <a:off x="8136196" y="1441691"/>
            <a:ext cx="3207731" cy="2233956"/>
          </a:xfrm>
          <a:prstGeom prst="rightArrow">
            <a:avLst>
              <a:gd name="adj1" fmla="val 69463"/>
              <a:gd name="adj2" fmla="val 28319"/>
            </a:avLst>
          </a:prstGeom>
          <a:solidFill>
            <a:schemeClr val="accent5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4" name="Freeform 2">
            <a:extLst>
              <a:ext uri="{FF2B5EF4-FFF2-40B4-BE49-F238E27FC236}">
                <a16:creationId xmlns:a16="http://schemas.microsoft.com/office/drawing/2014/main" id="{028F1D75-2FD6-494E-8261-197AC4C45522}"/>
              </a:ext>
            </a:extLst>
          </p:cNvPr>
          <p:cNvSpPr>
            <a:spLocks/>
          </p:cNvSpPr>
          <p:nvPr/>
        </p:nvSpPr>
        <p:spPr bwMode="auto">
          <a:xfrm>
            <a:off x="8136196" y="332564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5" name="Isosceles Triangle 13">
            <a:extLst>
              <a:ext uri="{FF2B5EF4-FFF2-40B4-BE49-F238E27FC236}">
                <a16:creationId xmlns:a16="http://schemas.microsoft.com/office/drawing/2014/main" id="{FD130A91-BC11-43FC-AFFA-226E74139612}"/>
              </a:ext>
            </a:extLst>
          </p:cNvPr>
          <p:cNvSpPr/>
          <p:nvPr/>
        </p:nvSpPr>
        <p:spPr>
          <a:xfrm>
            <a:off x="7826972" y="2173969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9F6A3B-0977-44CF-8BDF-ED734B2D03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00" y="1638300"/>
            <a:ext cx="5171891" cy="1204876"/>
          </a:xfrm>
          <a:prstGeom prst="rect">
            <a:avLst/>
          </a:prstGeo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 marL="0" indent="0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A1DB6C8-8A55-45FD-A084-53A0AAF06C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477" y="4646778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one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ECB19207-FB81-4CC8-8729-7889B1BB71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06201" y="3950595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wo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047B4116-81E0-4449-A611-A9C8B0FC07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7883" y="3236347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hree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F00E0895-69B2-4098-B8AF-A87DB41372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60604" y="2488240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four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40D9E8E2-20C0-4A1A-BF6D-0B2788D96C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36196" y="1784669"/>
            <a:ext cx="2406246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step five</a:t>
            </a:r>
          </a:p>
        </p:txBody>
      </p:sp>
      <p:sp>
        <p:nvSpPr>
          <p:cNvPr id="43" name="Title Placeholder 1">
            <a:extLst>
              <a:ext uri="{FF2B5EF4-FFF2-40B4-BE49-F238E27FC236}">
                <a16:creationId xmlns:a16="http://schemas.microsoft.com/office/drawing/2014/main" id="{6FA84DC4-0E76-4505-BB76-BDA71C8DC4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44" name="Footer Placeholder 4">
            <a:extLst>
              <a:ext uri="{FF2B5EF4-FFF2-40B4-BE49-F238E27FC236}">
                <a16:creationId xmlns:a16="http://schemas.microsoft.com/office/drawing/2014/main" id="{AFECD0E4-1024-44AE-8E23-42280A9B65D5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CDA829A-ED52-43E9-BA64-55EFBD33D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7522743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on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71711" y="1612682"/>
            <a:ext cx="3432299" cy="3432299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8694" y="145577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6616" y="2273621"/>
            <a:ext cx="4159909" cy="28993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br>
              <a:rPr lang="en-US" dirty="0"/>
            </a:br>
            <a:r>
              <a:rPr lang="en-US" dirty="0"/>
              <a:t>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untry</a:t>
            </a:r>
            <a:br>
              <a:rPr lang="en-US" dirty="0"/>
            </a:br>
            <a:r>
              <a:rPr lang="en-US" dirty="0"/>
              <a:t>Office, </a:t>
            </a:r>
            <a:r>
              <a:rPr lang="en-US" dirty="0" err="1"/>
              <a:t>Adress</a:t>
            </a:r>
            <a:endParaRPr lang="en-US" dirty="0"/>
          </a:p>
        </p:txBody>
      </p:sp>
      <p:sp>
        <p:nvSpPr>
          <p:cNvPr id="9" name="Shape 2587">
            <a:extLst>
              <a:ext uri="{FF2B5EF4-FFF2-40B4-BE49-F238E27FC236}">
                <a16:creationId xmlns:a16="http://schemas.microsoft.com/office/drawing/2014/main" id="{432A4CED-5616-4E9A-B10E-D27920EBC843}"/>
              </a:ext>
            </a:extLst>
          </p:cNvPr>
          <p:cNvSpPr/>
          <p:nvPr/>
        </p:nvSpPr>
        <p:spPr>
          <a:xfrm>
            <a:off x="4887331" y="344875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0" name="Shape 2628">
            <a:extLst>
              <a:ext uri="{FF2B5EF4-FFF2-40B4-BE49-F238E27FC236}">
                <a16:creationId xmlns:a16="http://schemas.microsoft.com/office/drawing/2014/main" id="{A8FF3624-6D73-4863-97BD-8A36DBA409C3}"/>
              </a:ext>
            </a:extLst>
          </p:cNvPr>
          <p:cNvSpPr/>
          <p:nvPr/>
        </p:nvSpPr>
        <p:spPr>
          <a:xfrm>
            <a:off x="6904403" y="375362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1" name="Shape 2935">
            <a:extLst>
              <a:ext uri="{FF2B5EF4-FFF2-40B4-BE49-F238E27FC236}">
                <a16:creationId xmlns:a16="http://schemas.microsoft.com/office/drawing/2014/main" id="{A7BF6261-1B3F-437D-A95A-A9E1BD225D39}"/>
              </a:ext>
            </a:extLst>
          </p:cNvPr>
          <p:cNvSpPr/>
          <p:nvPr/>
        </p:nvSpPr>
        <p:spPr>
          <a:xfrm>
            <a:off x="4887331" y="4827116"/>
            <a:ext cx="345770" cy="3458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600" extrusionOk="0">
                <a:moveTo>
                  <a:pt x="6365" y="15409"/>
                </a:moveTo>
                <a:cubicBezTo>
                  <a:pt x="5782" y="14888"/>
                  <a:pt x="4858" y="14006"/>
                  <a:pt x="3935" y="12895"/>
                </a:cubicBezTo>
                <a:cubicBezTo>
                  <a:pt x="2587" y="11273"/>
                  <a:pt x="979" y="8835"/>
                  <a:pt x="979" y="6430"/>
                </a:cubicBezTo>
                <a:cubicBezTo>
                  <a:pt x="979" y="3427"/>
                  <a:pt x="3396" y="982"/>
                  <a:pt x="6366" y="982"/>
                </a:cubicBezTo>
                <a:cubicBezTo>
                  <a:pt x="9336" y="982"/>
                  <a:pt x="11752" y="3427"/>
                  <a:pt x="11752" y="6430"/>
                </a:cubicBezTo>
                <a:cubicBezTo>
                  <a:pt x="11752" y="10208"/>
                  <a:pt x="7888" y="14044"/>
                  <a:pt x="6365" y="15409"/>
                </a:cubicBezTo>
                <a:moveTo>
                  <a:pt x="6366" y="0"/>
                </a:moveTo>
                <a:cubicBezTo>
                  <a:pt x="2850" y="0"/>
                  <a:pt x="0" y="2879"/>
                  <a:pt x="0" y="6430"/>
                </a:cubicBezTo>
                <a:cubicBezTo>
                  <a:pt x="0" y="11655"/>
                  <a:pt x="6366" y="16701"/>
                  <a:pt x="6366" y="16701"/>
                </a:cubicBezTo>
                <a:cubicBezTo>
                  <a:pt x="6366" y="16701"/>
                  <a:pt x="12732" y="11655"/>
                  <a:pt x="12732" y="6430"/>
                </a:cubicBezTo>
                <a:cubicBezTo>
                  <a:pt x="12732" y="2879"/>
                  <a:pt x="9882" y="0"/>
                  <a:pt x="6366" y="0"/>
                </a:cubicBezTo>
                <a:moveTo>
                  <a:pt x="17357" y="19604"/>
                </a:moveTo>
                <a:cubicBezTo>
                  <a:pt x="17127" y="19764"/>
                  <a:pt x="16856" y="19909"/>
                  <a:pt x="16554" y="20033"/>
                </a:cubicBezTo>
                <a:cubicBezTo>
                  <a:pt x="16304" y="20137"/>
                  <a:pt x="16185" y="20424"/>
                  <a:pt x="16288" y="20675"/>
                </a:cubicBezTo>
                <a:cubicBezTo>
                  <a:pt x="16365" y="20865"/>
                  <a:pt x="16548" y="20979"/>
                  <a:pt x="16740" y="20979"/>
                </a:cubicBezTo>
                <a:cubicBezTo>
                  <a:pt x="16802" y="20979"/>
                  <a:pt x="16866" y="20967"/>
                  <a:pt x="16926" y="20942"/>
                </a:cubicBezTo>
                <a:cubicBezTo>
                  <a:pt x="17294" y="20790"/>
                  <a:pt x="17627" y="20611"/>
                  <a:pt x="17915" y="20411"/>
                </a:cubicBezTo>
                <a:cubicBezTo>
                  <a:pt x="18138" y="20256"/>
                  <a:pt x="18193" y="19950"/>
                  <a:pt x="18039" y="19727"/>
                </a:cubicBezTo>
                <a:cubicBezTo>
                  <a:pt x="17885" y="19505"/>
                  <a:pt x="17579" y="19449"/>
                  <a:pt x="17357" y="19604"/>
                </a:cubicBezTo>
                <a:moveTo>
                  <a:pt x="16249" y="13042"/>
                </a:moveTo>
                <a:cubicBezTo>
                  <a:pt x="16109" y="12790"/>
                  <a:pt x="16024" y="12529"/>
                  <a:pt x="15995" y="12265"/>
                </a:cubicBezTo>
                <a:cubicBezTo>
                  <a:pt x="15966" y="11995"/>
                  <a:pt x="15731" y="11801"/>
                  <a:pt x="15456" y="11829"/>
                </a:cubicBezTo>
                <a:cubicBezTo>
                  <a:pt x="15187" y="11859"/>
                  <a:pt x="14992" y="12100"/>
                  <a:pt x="15022" y="12370"/>
                </a:cubicBezTo>
                <a:cubicBezTo>
                  <a:pt x="15064" y="12767"/>
                  <a:pt x="15190" y="13154"/>
                  <a:pt x="15395" y="13522"/>
                </a:cubicBezTo>
                <a:cubicBezTo>
                  <a:pt x="15484" y="13682"/>
                  <a:pt x="15651" y="13773"/>
                  <a:pt x="15822" y="13773"/>
                </a:cubicBezTo>
                <a:cubicBezTo>
                  <a:pt x="15904" y="13773"/>
                  <a:pt x="15985" y="13753"/>
                  <a:pt x="16061" y="13710"/>
                </a:cubicBezTo>
                <a:cubicBezTo>
                  <a:pt x="16297" y="13578"/>
                  <a:pt x="16382" y="13279"/>
                  <a:pt x="16249" y="13042"/>
                </a:cubicBezTo>
                <a:moveTo>
                  <a:pt x="18249" y="15254"/>
                </a:moveTo>
                <a:cubicBezTo>
                  <a:pt x="18041" y="14981"/>
                  <a:pt x="17803" y="14708"/>
                  <a:pt x="17538" y="14439"/>
                </a:cubicBezTo>
                <a:cubicBezTo>
                  <a:pt x="17349" y="14246"/>
                  <a:pt x="17039" y="14244"/>
                  <a:pt x="16845" y="14434"/>
                </a:cubicBezTo>
                <a:cubicBezTo>
                  <a:pt x="16653" y="14624"/>
                  <a:pt x="16651" y="14935"/>
                  <a:pt x="16841" y="15129"/>
                </a:cubicBezTo>
                <a:cubicBezTo>
                  <a:pt x="17076" y="15368"/>
                  <a:pt x="17288" y="15612"/>
                  <a:pt x="17471" y="15851"/>
                </a:cubicBezTo>
                <a:cubicBezTo>
                  <a:pt x="17568" y="15977"/>
                  <a:pt x="17713" y="16043"/>
                  <a:pt x="17860" y="16043"/>
                </a:cubicBezTo>
                <a:cubicBezTo>
                  <a:pt x="17964" y="16043"/>
                  <a:pt x="18068" y="16011"/>
                  <a:pt x="18157" y="15942"/>
                </a:cubicBezTo>
                <a:cubicBezTo>
                  <a:pt x="18373" y="15777"/>
                  <a:pt x="18413" y="15469"/>
                  <a:pt x="18249" y="15254"/>
                </a:cubicBezTo>
                <a:moveTo>
                  <a:pt x="21476" y="5928"/>
                </a:moveTo>
                <a:cubicBezTo>
                  <a:pt x="21352" y="5687"/>
                  <a:pt x="21057" y="5592"/>
                  <a:pt x="20817" y="5717"/>
                </a:cubicBezTo>
                <a:cubicBezTo>
                  <a:pt x="20817" y="5717"/>
                  <a:pt x="20650" y="5803"/>
                  <a:pt x="20371" y="5962"/>
                </a:cubicBezTo>
                <a:cubicBezTo>
                  <a:pt x="20136" y="6096"/>
                  <a:pt x="20054" y="6396"/>
                  <a:pt x="20188" y="6632"/>
                </a:cubicBezTo>
                <a:cubicBezTo>
                  <a:pt x="20278" y="6791"/>
                  <a:pt x="20444" y="6880"/>
                  <a:pt x="20614" y="6880"/>
                </a:cubicBezTo>
                <a:cubicBezTo>
                  <a:pt x="20697" y="6880"/>
                  <a:pt x="20780" y="6859"/>
                  <a:pt x="20856" y="6815"/>
                </a:cubicBezTo>
                <a:cubicBezTo>
                  <a:pt x="21108" y="6672"/>
                  <a:pt x="21261" y="6592"/>
                  <a:pt x="21265" y="6590"/>
                </a:cubicBezTo>
                <a:cubicBezTo>
                  <a:pt x="21506" y="6466"/>
                  <a:pt x="21600" y="6170"/>
                  <a:pt x="21476" y="5928"/>
                </a:cubicBezTo>
                <a:moveTo>
                  <a:pt x="18659" y="16886"/>
                </a:moveTo>
                <a:cubicBezTo>
                  <a:pt x="18395" y="16941"/>
                  <a:pt x="18225" y="17201"/>
                  <a:pt x="18280" y="17467"/>
                </a:cubicBezTo>
                <a:cubicBezTo>
                  <a:pt x="18312" y="17625"/>
                  <a:pt x="18330" y="17781"/>
                  <a:pt x="18330" y="17929"/>
                </a:cubicBezTo>
                <a:cubicBezTo>
                  <a:pt x="18330" y="18050"/>
                  <a:pt x="18318" y="18171"/>
                  <a:pt x="18296" y="18287"/>
                </a:cubicBezTo>
                <a:cubicBezTo>
                  <a:pt x="18244" y="18554"/>
                  <a:pt x="18418" y="18811"/>
                  <a:pt x="18683" y="18862"/>
                </a:cubicBezTo>
                <a:cubicBezTo>
                  <a:pt x="18715" y="18869"/>
                  <a:pt x="18746" y="18871"/>
                  <a:pt x="18777" y="18871"/>
                </a:cubicBezTo>
                <a:cubicBezTo>
                  <a:pt x="19007" y="18871"/>
                  <a:pt x="19212" y="18708"/>
                  <a:pt x="19257" y="18473"/>
                </a:cubicBezTo>
                <a:cubicBezTo>
                  <a:pt x="19292" y="18296"/>
                  <a:pt x="19309" y="18114"/>
                  <a:pt x="19309" y="17929"/>
                </a:cubicBezTo>
                <a:cubicBezTo>
                  <a:pt x="19309" y="17715"/>
                  <a:pt x="19285" y="17492"/>
                  <a:pt x="19239" y="17267"/>
                </a:cubicBezTo>
                <a:cubicBezTo>
                  <a:pt x="19183" y="17001"/>
                  <a:pt x="18923" y="16832"/>
                  <a:pt x="18659" y="16886"/>
                </a:cubicBezTo>
                <a:moveTo>
                  <a:pt x="18590" y="7106"/>
                </a:moveTo>
                <a:cubicBezTo>
                  <a:pt x="18317" y="7303"/>
                  <a:pt x="18035" y="7518"/>
                  <a:pt x="17756" y="7745"/>
                </a:cubicBezTo>
                <a:cubicBezTo>
                  <a:pt x="17546" y="7917"/>
                  <a:pt x="17515" y="8226"/>
                  <a:pt x="17686" y="8436"/>
                </a:cubicBezTo>
                <a:cubicBezTo>
                  <a:pt x="17783" y="8556"/>
                  <a:pt x="17924" y="8617"/>
                  <a:pt x="18066" y="8617"/>
                </a:cubicBezTo>
                <a:cubicBezTo>
                  <a:pt x="18174" y="8617"/>
                  <a:pt x="18284" y="8581"/>
                  <a:pt x="18374" y="8507"/>
                </a:cubicBezTo>
                <a:cubicBezTo>
                  <a:pt x="18637" y="8292"/>
                  <a:pt x="18903" y="8090"/>
                  <a:pt x="19161" y="7905"/>
                </a:cubicBezTo>
                <a:cubicBezTo>
                  <a:pt x="19380" y="7747"/>
                  <a:pt x="19431" y="7440"/>
                  <a:pt x="19273" y="7220"/>
                </a:cubicBezTo>
                <a:cubicBezTo>
                  <a:pt x="19116" y="6999"/>
                  <a:pt x="18810" y="6949"/>
                  <a:pt x="18590" y="7106"/>
                </a:cubicBezTo>
                <a:moveTo>
                  <a:pt x="14704" y="20512"/>
                </a:moveTo>
                <a:cubicBezTo>
                  <a:pt x="14393" y="20556"/>
                  <a:pt x="14065" y="20590"/>
                  <a:pt x="13729" y="20611"/>
                </a:cubicBezTo>
                <a:cubicBezTo>
                  <a:pt x="13459" y="20629"/>
                  <a:pt x="13254" y="20863"/>
                  <a:pt x="13272" y="21134"/>
                </a:cubicBezTo>
                <a:cubicBezTo>
                  <a:pt x="13289" y="21394"/>
                  <a:pt x="13504" y="21593"/>
                  <a:pt x="13760" y="21593"/>
                </a:cubicBezTo>
                <a:cubicBezTo>
                  <a:pt x="13771" y="21593"/>
                  <a:pt x="13781" y="21592"/>
                  <a:pt x="13792" y="21592"/>
                </a:cubicBezTo>
                <a:cubicBezTo>
                  <a:pt x="14152" y="21568"/>
                  <a:pt x="14506" y="21533"/>
                  <a:pt x="14842" y="21485"/>
                </a:cubicBezTo>
                <a:cubicBezTo>
                  <a:pt x="15110" y="21447"/>
                  <a:pt x="15296" y="21198"/>
                  <a:pt x="15258" y="20929"/>
                </a:cubicBezTo>
                <a:cubicBezTo>
                  <a:pt x="15220" y="20661"/>
                  <a:pt x="14973" y="20472"/>
                  <a:pt x="14704" y="20512"/>
                </a:cubicBezTo>
                <a:moveTo>
                  <a:pt x="8893" y="20109"/>
                </a:moveTo>
                <a:cubicBezTo>
                  <a:pt x="8582" y="19997"/>
                  <a:pt x="8299" y="19866"/>
                  <a:pt x="8052" y="19721"/>
                </a:cubicBezTo>
                <a:cubicBezTo>
                  <a:pt x="7818" y="19582"/>
                  <a:pt x="7519" y="19663"/>
                  <a:pt x="7382" y="19896"/>
                </a:cubicBezTo>
                <a:cubicBezTo>
                  <a:pt x="7244" y="20130"/>
                  <a:pt x="7323" y="20432"/>
                  <a:pt x="7556" y="20568"/>
                </a:cubicBezTo>
                <a:cubicBezTo>
                  <a:pt x="7856" y="20744"/>
                  <a:pt x="8194" y="20901"/>
                  <a:pt x="8562" y="21034"/>
                </a:cubicBezTo>
                <a:cubicBezTo>
                  <a:pt x="8617" y="21053"/>
                  <a:pt x="8672" y="21062"/>
                  <a:pt x="8728" y="21062"/>
                </a:cubicBezTo>
                <a:cubicBezTo>
                  <a:pt x="8928" y="21062"/>
                  <a:pt x="9117" y="20938"/>
                  <a:pt x="9189" y="20737"/>
                </a:cubicBezTo>
                <a:cubicBezTo>
                  <a:pt x="9280" y="20482"/>
                  <a:pt x="9148" y="20200"/>
                  <a:pt x="8893" y="20109"/>
                </a:cubicBezTo>
                <a:moveTo>
                  <a:pt x="11751" y="20618"/>
                </a:moveTo>
                <a:cubicBezTo>
                  <a:pt x="11412" y="20600"/>
                  <a:pt x="11082" y="20572"/>
                  <a:pt x="10771" y="20533"/>
                </a:cubicBezTo>
                <a:cubicBezTo>
                  <a:pt x="10502" y="20493"/>
                  <a:pt x="10258" y="20690"/>
                  <a:pt x="10225" y="20959"/>
                </a:cubicBezTo>
                <a:cubicBezTo>
                  <a:pt x="10191" y="21229"/>
                  <a:pt x="10382" y="21474"/>
                  <a:pt x="10650" y="21507"/>
                </a:cubicBezTo>
                <a:cubicBezTo>
                  <a:pt x="10984" y="21549"/>
                  <a:pt x="11337" y="21580"/>
                  <a:pt x="11699" y="21600"/>
                </a:cubicBezTo>
                <a:cubicBezTo>
                  <a:pt x="11708" y="21600"/>
                  <a:pt x="11716" y="21600"/>
                  <a:pt x="11725" y="21600"/>
                </a:cubicBezTo>
                <a:cubicBezTo>
                  <a:pt x="11984" y="21600"/>
                  <a:pt x="12200" y="21397"/>
                  <a:pt x="12214" y="21135"/>
                </a:cubicBezTo>
                <a:cubicBezTo>
                  <a:pt x="12228" y="20863"/>
                  <a:pt x="12021" y="20632"/>
                  <a:pt x="11751" y="20618"/>
                </a:cubicBezTo>
                <a:moveTo>
                  <a:pt x="6840" y="18180"/>
                </a:moveTo>
                <a:cubicBezTo>
                  <a:pt x="6836" y="17912"/>
                  <a:pt x="6619" y="17696"/>
                  <a:pt x="6351" y="17696"/>
                </a:cubicBezTo>
                <a:cubicBezTo>
                  <a:pt x="6080" y="17696"/>
                  <a:pt x="5861" y="17916"/>
                  <a:pt x="5861" y="18188"/>
                </a:cubicBezTo>
                <a:cubicBezTo>
                  <a:pt x="5861" y="18234"/>
                  <a:pt x="5867" y="18484"/>
                  <a:pt x="5997" y="18834"/>
                </a:cubicBezTo>
                <a:cubicBezTo>
                  <a:pt x="6070" y="19033"/>
                  <a:pt x="6257" y="19155"/>
                  <a:pt x="6456" y="19155"/>
                </a:cubicBezTo>
                <a:cubicBezTo>
                  <a:pt x="6512" y="19155"/>
                  <a:pt x="6570" y="19145"/>
                  <a:pt x="6626" y="19124"/>
                </a:cubicBezTo>
                <a:cubicBezTo>
                  <a:pt x="6880" y="19030"/>
                  <a:pt x="7009" y="18748"/>
                  <a:pt x="6915" y="18493"/>
                </a:cubicBezTo>
                <a:cubicBezTo>
                  <a:pt x="6849" y="18314"/>
                  <a:pt x="6841" y="18191"/>
                  <a:pt x="6840" y="18180"/>
                </a:cubicBezTo>
                <a:moveTo>
                  <a:pt x="15760" y="10798"/>
                </a:moveTo>
                <a:cubicBezTo>
                  <a:pt x="15838" y="10844"/>
                  <a:pt x="15924" y="10866"/>
                  <a:pt x="16008" y="10866"/>
                </a:cubicBezTo>
                <a:cubicBezTo>
                  <a:pt x="16176" y="10866"/>
                  <a:pt x="16339" y="10780"/>
                  <a:pt x="16431" y="10625"/>
                </a:cubicBezTo>
                <a:cubicBezTo>
                  <a:pt x="16577" y="10376"/>
                  <a:pt x="16761" y="10120"/>
                  <a:pt x="16977" y="9861"/>
                </a:cubicBezTo>
                <a:cubicBezTo>
                  <a:pt x="17151" y="9653"/>
                  <a:pt x="17124" y="9343"/>
                  <a:pt x="16917" y="9169"/>
                </a:cubicBezTo>
                <a:cubicBezTo>
                  <a:pt x="16709" y="8994"/>
                  <a:pt x="16400" y="9022"/>
                  <a:pt x="16227" y="9230"/>
                </a:cubicBezTo>
                <a:cubicBezTo>
                  <a:pt x="15976" y="9529"/>
                  <a:pt x="15761" y="9832"/>
                  <a:pt x="15587" y="10125"/>
                </a:cubicBezTo>
                <a:cubicBezTo>
                  <a:pt x="15450" y="10359"/>
                  <a:pt x="15527" y="10659"/>
                  <a:pt x="15760" y="10798"/>
                </a:cubicBezTo>
                <a:moveTo>
                  <a:pt x="6366" y="8841"/>
                </a:moveTo>
                <a:cubicBezTo>
                  <a:pt x="5014" y="8841"/>
                  <a:pt x="3917" y="7741"/>
                  <a:pt x="3917" y="6384"/>
                </a:cubicBezTo>
                <a:cubicBezTo>
                  <a:pt x="3917" y="5027"/>
                  <a:pt x="5014" y="3927"/>
                  <a:pt x="6366" y="3927"/>
                </a:cubicBezTo>
                <a:cubicBezTo>
                  <a:pt x="7719" y="3927"/>
                  <a:pt x="8814" y="5027"/>
                  <a:pt x="8814" y="6384"/>
                </a:cubicBezTo>
                <a:cubicBezTo>
                  <a:pt x="8814" y="7741"/>
                  <a:pt x="7719" y="8841"/>
                  <a:pt x="6366" y="8841"/>
                </a:cubicBezTo>
                <a:moveTo>
                  <a:pt x="6366" y="2955"/>
                </a:moveTo>
                <a:cubicBezTo>
                  <a:pt x="4473" y="2955"/>
                  <a:pt x="2938" y="4494"/>
                  <a:pt x="2938" y="6392"/>
                </a:cubicBezTo>
                <a:cubicBezTo>
                  <a:pt x="2938" y="8291"/>
                  <a:pt x="4473" y="9831"/>
                  <a:pt x="6366" y="9831"/>
                </a:cubicBezTo>
                <a:cubicBezTo>
                  <a:pt x="8259" y="9831"/>
                  <a:pt x="9794" y="8291"/>
                  <a:pt x="9794" y="6392"/>
                </a:cubicBezTo>
                <a:cubicBezTo>
                  <a:pt x="9794" y="4494"/>
                  <a:pt x="8259" y="2955"/>
                  <a:pt x="6366" y="2955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</p:spTree>
    <p:extLst>
      <p:ext uri="{BB962C8B-B14F-4D97-AF65-F5344CB8AC3E}">
        <p14:creationId xmlns:p14="http://schemas.microsoft.com/office/powerpoint/2010/main" val="296325009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331">
          <p15:clr>
            <a:srgbClr val="A4A3A4"/>
          </p15:clr>
        </p15:guide>
        <p15:guide id="2" pos="5952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6ED0A72-E592-4B3B-8C41-58375CA12D2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200" y="1511300"/>
            <a:ext cx="351720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4EA0CED-41AA-4000-8AD4-B7611CD8FC4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3988" y="1511300"/>
            <a:ext cx="352065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783FC893-B43E-495D-A58D-B99DBF431AA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15324" y="1511300"/>
            <a:ext cx="3517275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626576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492">
          <p15:clr>
            <a:srgbClr val="A4A3A4"/>
          </p15:clr>
        </p15:guide>
        <p15:guide id="2" pos="2757">
          <p15:clr>
            <a:srgbClr val="A4A3A4"/>
          </p15:clr>
        </p15:guide>
        <p15:guide id="3" pos="4973">
          <p15:clr>
            <a:srgbClr val="A4A3A4"/>
          </p15:clr>
        </p15:guide>
        <p15:guide id="4" pos="5238">
          <p15:clr>
            <a:srgbClr val="A4A3A4"/>
          </p15:clr>
        </p15:guide>
        <p15:guide id="5" orient="horz" pos="952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mor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516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441287" y="201403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93CB2D3-EFC7-4338-AA06-8990624063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13486" y="200510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18D02F3-399A-493B-8D9C-01466A1940F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46257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1560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BFC77-7CFE-4B3B-946E-04A84656B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94331" y="457966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3E95A0A-5895-4DE1-9E81-3CB2EC1F7D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66530" y="457073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31E9205-4001-4C76-9474-A0F6D15DAD6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9301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6" name="Shape 2587">
            <a:extLst>
              <a:ext uri="{FF2B5EF4-FFF2-40B4-BE49-F238E27FC236}">
                <a16:creationId xmlns:a16="http://schemas.microsoft.com/office/drawing/2014/main" id="{2AC0757B-1B1B-4168-95D9-52A605B652A6}"/>
              </a:ext>
            </a:extLst>
          </p:cNvPr>
          <p:cNvSpPr/>
          <p:nvPr/>
        </p:nvSpPr>
        <p:spPr>
          <a:xfrm>
            <a:off x="672525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7" name="Shape 2628">
            <a:extLst>
              <a:ext uri="{FF2B5EF4-FFF2-40B4-BE49-F238E27FC236}">
                <a16:creationId xmlns:a16="http://schemas.microsoft.com/office/drawing/2014/main" id="{6320B7D2-45AD-4B2D-9D28-1F0139769C8E}"/>
              </a:ext>
            </a:extLst>
          </p:cNvPr>
          <p:cNvSpPr/>
          <p:nvPr/>
        </p:nvSpPr>
        <p:spPr>
          <a:xfrm>
            <a:off x="2494597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8" name="Shape 2587">
            <a:extLst>
              <a:ext uri="{FF2B5EF4-FFF2-40B4-BE49-F238E27FC236}">
                <a16:creationId xmlns:a16="http://schemas.microsoft.com/office/drawing/2014/main" id="{08DCA66B-E816-4942-9233-259ADAB80C5B}"/>
              </a:ext>
            </a:extLst>
          </p:cNvPr>
          <p:cNvSpPr/>
          <p:nvPr/>
        </p:nvSpPr>
        <p:spPr>
          <a:xfrm>
            <a:off x="3589190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9" name="Shape 2628">
            <a:extLst>
              <a:ext uri="{FF2B5EF4-FFF2-40B4-BE49-F238E27FC236}">
                <a16:creationId xmlns:a16="http://schemas.microsoft.com/office/drawing/2014/main" id="{F2166773-4EF2-4B40-B9A2-AD1E8C87C397}"/>
              </a:ext>
            </a:extLst>
          </p:cNvPr>
          <p:cNvSpPr/>
          <p:nvPr/>
        </p:nvSpPr>
        <p:spPr>
          <a:xfrm>
            <a:off x="5411262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3" name="Shape 2587">
            <a:extLst>
              <a:ext uri="{FF2B5EF4-FFF2-40B4-BE49-F238E27FC236}">
                <a16:creationId xmlns:a16="http://schemas.microsoft.com/office/drawing/2014/main" id="{B641ADED-45B0-466B-A4BE-CEC5570DB588}"/>
              </a:ext>
            </a:extLst>
          </p:cNvPr>
          <p:cNvSpPr/>
          <p:nvPr/>
        </p:nvSpPr>
        <p:spPr>
          <a:xfrm>
            <a:off x="6505855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4" name="Shape 2628">
            <a:extLst>
              <a:ext uri="{FF2B5EF4-FFF2-40B4-BE49-F238E27FC236}">
                <a16:creationId xmlns:a16="http://schemas.microsoft.com/office/drawing/2014/main" id="{3499E135-4CE8-41B2-BDBA-5D813B49F909}"/>
              </a:ext>
            </a:extLst>
          </p:cNvPr>
          <p:cNvSpPr/>
          <p:nvPr/>
        </p:nvSpPr>
        <p:spPr>
          <a:xfrm>
            <a:off x="8327927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" name="Shape 2587">
            <a:extLst>
              <a:ext uri="{FF2B5EF4-FFF2-40B4-BE49-F238E27FC236}">
                <a16:creationId xmlns:a16="http://schemas.microsoft.com/office/drawing/2014/main" id="{01107A37-C368-49C5-9DC7-A94D9D426028}"/>
              </a:ext>
            </a:extLst>
          </p:cNvPr>
          <p:cNvSpPr/>
          <p:nvPr/>
        </p:nvSpPr>
        <p:spPr>
          <a:xfrm>
            <a:off x="9422520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" name="Shape 2628">
            <a:extLst>
              <a:ext uri="{FF2B5EF4-FFF2-40B4-BE49-F238E27FC236}">
                <a16:creationId xmlns:a16="http://schemas.microsoft.com/office/drawing/2014/main" id="{3EBC6043-323F-4E40-A483-EE2CE6E8C56C}"/>
              </a:ext>
            </a:extLst>
          </p:cNvPr>
          <p:cNvSpPr/>
          <p:nvPr/>
        </p:nvSpPr>
        <p:spPr>
          <a:xfrm>
            <a:off x="11244592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</p:spTree>
    <p:extLst>
      <p:ext uri="{BB962C8B-B14F-4D97-AF65-F5344CB8AC3E}">
        <p14:creationId xmlns:p14="http://schemas.microsoft.com/office/powerpoint/2010/main" val="2343037865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Text Box 2">
            <a:extLst>
              <a:ext uri="{FF2B5EF4-FFF2-40B4-BE49-F238E27FC236}">
                <a16:creationId xmlns:a16="http://schemas.microsoft.com/office/drawing/2014/main" id="{93D234E7-7A2E-4F41-A585-E962171C7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01200" y="1976400"/>
            <a:ext cx="3186224" cy="1538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34938" algn="l"/>
              </a:tabLst>
              <a:defRPr/>
            </a:pPr>
            <a:r>
              <a:rPr lang="en-GB" sz="1200" b="1" kern="120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G graphics, icons and maps</a:t>
            </a:r>
          </a:p>
          <a:p>
            <a:r>
              <a:rPr lang="en-GB" sz="1000" dirty="0">
                <a:solidFill>
                  <a:schemeClr val="tx1"/>
                </a:solidFill>
                <a:latin typeface="+mn-lt"/>
              </a:rPr>
              <a:t>To insert NIRAS </a:t>
            </a:r>
            <a:r>
              <a:rPr lang="en-GB" sz="1000" b="1" dirty="0">
                <a:solidFill>
                  <a:schemeClr val="tx1"/>
                </a:solidFill>
                <a:latin typeface="+mn-lt"/>
              </a:rPr>
              <a:t>standard SDG Graphics, icons or maps</a:t>
            </a:r>
            <a:r>
              <a:rPr lang="en-GB" sz="1000" dirty="0">
                <a:solidFill>
                  <a:schemeClr val="tx1"/>
                </a:solidFill>
                <a:latin typeface="+mn-lt"/>
              </a:rPr>
              <a:t>, press CTRL and click on button below.</a:t>
            </a:r>
          </a:p>
          <a:p>
            <a:endParaRPr lang="en-GB" sz="1000" dirty="0">
              <a:solidFill>
                <a:schemeClr val="tx1"/>
              </a:solidFill>
              <a:latin typeface="+mn-lt"/>
            </a:endParaRPr>
          </a:p>
          <a:p>
            <a:r>
              <a:rPr lang="en-GB" sz="1000" dirty="0">
                <a:solidFill>
                  <a:schemeClr val="tx1"/>
                </a:solidFill>
                <a:latin typeface="+mn-lt"/>
              </a:rPr>
              <a:t>This will open a new </a:t>
            </a:r>
            <a:r>
              <a:rPr lang="en-GB" sz="1000" dirty="0" err="1">
                <a:solidFill>
                  <a:schemeClr val="tx1"/>
                </a:solidFill>
                <a:latin typeface="+mn-lt"/>
              </a:rPr>
              <a:t>Powerpoint</a:t>
            </a:r>
            <a:r>
              <a:rPr lang="en-GB" sz="1000" dirty="0">
                <a:solidFill>
                  <a:schemeClr val="tx1"/>
                </a:solidFill>
                <a:latin typeface="+mn-lt"/>
              </a:rPr>
              <a:t> presentation with graphics for copying (</a:t>
            </a:r>
            <a:r>
              <a:rPr lang="en-GB" sz="1000" dirty="0" err="1">
                <a:solidFill>
                  <a:schemeClr val="tx1"/>
                </a:solidFill>
                <a:latin typeface="+mn-lt"/>
              </a:rPr>
              <a:t>ctrl+c</a:t>
            </a:r>
            <a:r>
              <a:rPr lang="en-GB" sz="1000" dirty="0">
                <a:solidFill>
                  <a:schemeClr val="tx1"/>
                </a:solidFill>
                <a:latin typeface="+mn-lt"/>
              </a:rPr>
              <a:t>) and pasting (</a:t>
            </a:r>
            <a:r>
              <a:rPr lang="en-GB" sz="1000" dirty="0" err="1">
                <a:solidFill>
                  <a:schemeClr val="tx1"/>
                </a:solidFill>
                <a:latin typeface="+mn-lt"/>
              </a:rPr>
              <a:t>ctrl+v</a:t>
            </a:r>
            <a:r>
              <a:rPr lang="en-GB" sz="1000" dirty="0">
                <a:solidFill>
                  <a:schemeClr val="tx1"/>
                </a:solidFill>
                <a:latin typeface="+mn-lt"/>
              </a:rPr>
              <a:t>) into your presentation</a:t>
            </a:r>
          </a:p>
          <a:p>
            <a:pPr marL="228600" indent="-228600" algn="l" eaLnBrk="1" hangingPunct="1">
              <a:spcAft>
                <a:spcPts val="600"/>
              </a:spcAft>
              <a:buFont typeface="+mj-lt"/>
              <a:buAutoNum type="arabicPeriod"/>
              <a:tabLst>
                <a:tab pos="134938" algn="l"/>
              </a:tabLst>
            </a:pP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A23AC2A0-6C36-4803-BD10-C11530A96C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8170" y="574066"/>
            <a:ext cx="2455846" cy="138481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9" name="Header">
            <a:extLst>
              <a:ext uri="{FF2B5EF4-FFF2-40B4-BE49-F238E27FC236}">
                <a16:creationId xmlns:a16="http://schemas.microsoft.com/office/drawing/2014/main" id="{CAB54473-748F-41CE-99F3-644350865D42}"/>
              </a:ext>
            </a:extLst>
          </p:cNvPr>
          <p:cNvSpPr txBox="1"/>
          <p:nvPr/>
        </p:nvSpPr>
        <p:spPr>
          <a:xfrm>
            <a:off x="438150" y="360000"/>
            <a:ext cx="11031175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User guide – delete before use</a:t>
            </a:r>
            <a:endParaRPr lang="en-US" sz="3000" dirty="0"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40" name="TextBox 5">
            <a:extLst>
              <a:ext uri="{FF2B5EF4-FFF2-40B4-BE49-F238E27FC236}">
                <a16:creationId xmlns:a16="http://schemas.microsoft.com/office/drawing/2014/main" id="{35D70A1E-9DDF-45CA-8E9D-AAE80439A9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8151" y="2232711"/>
            <a:ext cx="3229052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28600" indent="-228600" algn="l" eaLnBrk="1" hangingPunct="1">
              <a:spcAft>
                <a:spcPts val="600"/>
              </a:spcAft>
              <a:buFont typeface="+mj-lt"/>
              <a:buAutoNum type="arabicPeriod"/>
              <a:tabLst>
                <a:tab pos="134938" algn="l"/>
              </a:tabLst>
            </a:pPr>
            <a:r>
              <a:rPr lang="en-GB" sz="1000" b="0" i="0" baseline="0" noProof="1">
                <a:solidFill>
                  <a:schemeClr val="tx1"/>
                </a:solidFill>
                <a:latin typeface="+mn-lt"/>
              </a:rPr>
              <a:t>Click on 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</a:rPr>
              <a:t>Design</a:t>
            </a:r>
            <a:r>
              <a:rPr lang="en-GB" sz="1000" b="0" baseline="0" noProof="1">
                <a:solidFill>
                  <a:schemeClr val="tx1"/>
                </a:solidFill>
                <a:latin typeface="+mn-lt"/>
              </a:rPr>
              <a:t>-TAB</a:t>
            </a:r>
          </a:p>
          <a:p>
            <a:pPr marL="228600" indent="-228600" algn="l" eaLnBrk="1" hangingPunct="1">
              <a:spcAft>
                <a:spcPts val="600"/>
              </a:spcAft>
              <a:buFont typeface="+mj-lt"/>
              <a:buAutoNum type="arabicPeriod"/>
              <a:tabLst>
                <a:tab pos="134938" algn="l"/>
              </a:tabLst>
            </a:pPr>
            <a:r>
              <a:rPr lang="en-GB" sz="1000" baseline="0" noProof="1">
                <a:solidFill>
                  <a:schemeClr val="tx1"/>
                </a:solidFill>
                <a:latin typeface="+mn-lt"/>
              </a:rPr>
              <a:t>In 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</a:rPr>
              <a:t>Themes-section</a:t>
            </a:r>
            <a:r>
              <a:rPr lang="en-GB" sz="1000" baseline="0" noProof="1">
                <a:solidFill>
                  <a:schemeClr val="tx1"/>
                </a:solidFill>
                <a:latin typeface="+mn-lt"/>
              </a:rPr>
              <a:t>, </a:t>
            </a:r>
            <a:br>
              <a:rPr lang="en-GB" sz="1000" baseline="0" noProof="1">
                <a:solidFill>
                  <a:schemeClr val="tx1"/>
                </a:solidFill>
                <a:latin typeface="+mn-lt"/>
              </a:rPr>
            </a:br>
            <a:r>
              <a:rPr lang="en-GB" sz="1000" baseline="0" noProof="1">
                <a:solidFill>
                  <a:schemeClr val="tx1"/>
                </a:solidFill>
                <a:latin typeface="+mn-lt"/>
              </a:rPr>
              <a:t>click on 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</a:rPr>
              <a:t>ROCK (grey), LIFE (green) or SPIRIT (blue)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4B9883ED-0987-4C8A-B0BC-B22EEB583E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599" y="3140237"/>
            <a:ext cx="2938756" cy="1038299"/>
          </a:xfrm>
          <a:prstGeom prst="rect">
            <a:avLst/>
          </a:prstGeom>
        </p:spPr>
      </p:pic>
      <p:sp>
        <p:nvSpPr>
          <p:cNvPr id="47" name="Oval 46">
            <a:extLst>
              <a:ext uri="{FF2B5EF4-FFF2-40B4-BE49-F238E27FC236}">
                <a16:creationId xmlns:a16="http://schemas.microsoft.com/office/drawing/2014/main" id="{F9A84817-8E92-46E6-8F17-FFC1E3498A0B}"/>
              </a:ext>
            </a:extLst>
          </p:cNvPr>
          <p:cNvSpPr/>
          <p:nvPr/>
        </p:nvSpPr>
        <p:spPr>
          <a:xfrm>
            <a:off x="414858" y="3001146"/>
            <a:ext cx="676286" cy="524917"/>
          </a:xfrm>
          <a:prstGeom prst="ellipse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48" name="Graphic 47" descr="Cursor">
            <a:extLst>
              <a:ext uri="{FF2B5EF4-FFF2-40B4-BE49-F238E27FC236}">
                <a16:creationId xmlns:a16="http://schemas.microsoft.com/office/drawing/2014/main" id="{2BB05322-BB1E-49A4-BA40-A050B1F79D9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27417" y="3645131"/>
            <a:ext cx="639649" cy="6396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928067C1-CA2A-4990-B085-307744B5BCDA}"/>
              </a:ext>
            </a:extLst>
          </p:cNvPr>
          <p:cNvCxnSpPr/>
          <p:nvPr/>
        </p:nvCxnSpPr>
        <p:spPr>
          <a:xfrm>
            <a:off x="340158" y="0"/>
            <a:ext cx="0" cy="6858000"/>
          </a:xfrm>
          <a:prstGeom prst="straightConnector1">
            <a:avLst/>
          </a:prstGeom>
          <a:ln w="41275">
            <a:solidFill>
              <a:schemeClr val="accent6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A928D4A2-FEE7-494F-BA6F-FB024556D815}"/>
              </a:ext>
            </a:extLst>
          </p:cNvPr>
          <p:cNvCxnSpPr/>
          <p:nvPr/>
        </p:nvCxnSpPr>
        <p:spPr>
          <a:xfrm>
            <a:off x="11848236" y="0"/>
            <a:ext cx="0" cy="6858000"/>
          </a:xfrm>
          <a:prstGeom prst="straightConnector1">
            <a:avLst/>
          </a:prstGeom>
          <a:ln w="41275">
            <a:solidFill>
              <a:schemeClr val="accent6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F10DB115-BE5E-4988-89BC-FC010B280E5C}"/>
              </a:ext>
            </a:extLst>
          </p:cNvPr>
          <p:cNvCxnSpPr>
            <a:cxnSpLocks/>
          </p:cNvCxnSpPr>
          <p:nvPr/>
        </p:nvCxnSpPr>
        <p:spPr>
          <a:xfrm flipH="1">
            <a:off x="7544" y="6182044"/>
            <a:ext cx="12184456" cy="730"/>
          </a:xfrm>
          <a:prstGeom prst="straightConnector1">
            <a:avLst/>
          </a:prstGeom>
          <a:ln w="41275">
            <a:solidFill>
              <a:schemeClr val="accent6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6F172674-037F-443F-B1A6-04A3BCDE782A}"/>
              </a:ext>
            </a:extLst>
          </p:cNvPr>
          <p:cNvCxnSpPr>
            <a:cxnSpLocks/>
          </p:cNvCxnSpPr>
          <p:nvPr/>
        </p:nvCxnSpPr>
        <p:spPr>
          <a:xfrm flipH="1">
            <a:off x="0" y="344415"/>
            <a:ext cx="12184456" cy="730"/>
          </a:xfrm>
          <a:prstGeom prst="straightConnector1">
            <a:avLst/>
          </a:prstGeom>
          <a:ln w="41275">
            <a:solidFill>
              <a:schemeClr val="accent6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">
            <a:extLst>
              <a:ext uri="{FF2B5EF4-FFF2-40B4-BE49-F238E27FC236}">
                <a16:creationId xmlns:a16="http://schemas.microsoft.com/office/drawing/2014/main" id="{99F145D3-E924-445E-BA16-0BA33FB668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93079" y="838726"/>
            <a:ext cx="132093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ts val="600"/>
              </a:spcAft>
              <a:tabLst>
                <a:tab pos="134938" algn="l"/>
              </a:tabLst>
            </a:pPr>
            <a:r>
              <a:rPr lang="en-GB" sz="1200" b="1" noProof="1">
                <a:solidFill>
                  <a:schemeClr val="tx1"/>
                </a:solidFill>
                <a:latin typeface="+mn-lt"/>
              </a:rPr>
              <a:t>Workspace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92716A2-2267-4119-83DC-00A79C099A3C}"/>
              </a:ext>
            </a:extLst>
          </p:cNvPr>
          <p:cNvCxnSpPr/>
          <p:nvPr/>
        </p:nvCxnSpPr>
        <p:spPr>
          <a:xfrm>
            <a:off x="10941197" y="398366"/>
            <a:ext cx="0" cy="373787"/>
          </a:xfrm>
          <a:prstGeom prst="line">
            <a:avLst/>
          </a:prstGeom>
          <a:ln w="41275">
            <a:solidFill>
              <a:schemeClr val="accent6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925CD37F-1D4A-40F9-9882-2FF63C2D6332}"/>
              </a:ext>
            </a:extLst>
          </p:cNvPr>
          <p:cNvSpPr/>
          <p:nvPr/>
        </p:nvSpPr>
        <p:spPr>
          <a:xfrm>
            <a:off x="358775" y="1976400"/>
            <a:ext cx="4688379" cy="184666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l" eaLnBrk="1" hangingPunct="1">
              <a:spcBef>
                <a:spcPts val="1200"/>
              </a:spcBef>
              <a:spcAft>
                <a:spcPts val="600"/>
              </a:spcAft>
              <a:tabLst>
                <a:tab pos="134938" algn="l"/>
              </a:tabLst>
            </a:pPr>
            <a:r>
              <a:rPr lang="en-GB" sz="1200" b="1" noProof="1">
                <a:solidFill>
                  <a:schemeClr val="tx1"/>
                </a:solidFill>
                <a:latin typeface="+mn-lt"/>
              </a:rPr>
              <a:t>Choose the color design of your presentation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B6B4491-6F69-4DAA-BDA4-5F3FA86BD7EE}"/>
              </a:ext>
            </a:extLst>
          </p:cNvPr>
          <p:cNvSpPr/>
          <p:nvPr/>
        </p:nvSpPr>
        <p:spPr>
          <a:xfrm>
            <a:off x="358775" y="4194155"/>
            <a:ext cx="274484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1" hangingPunct="1">
              <a:spcAft>
                <a:spcPts val="600"/>
              </a:spcAft>
              <a:tabLst>
                <a:tab pos="134938" algn="l"/>
              </a:tabLst>
            </a:pPr>
            <a:r>
              <a:rPr lang="en-GB" sz="1200" b="1" noProof="1">
                <a:solidFill>
                  <a:schemeClr val="tx1"/>
                </a:solidFill>
                <a:latin typeface="+mn-lt"/>
              </a:rPr>
              <a:t>Add new slides</a:t>
            </a:r>
          </a:p>
        </p:txBody>
      </p:sp>
      <p:sp>
        <p:nvSpPr>
          <p:cNvPr id="58" name="Footer Placeholder 4">
            <a:extLst>
              <a:ext uri="{FF2B5EF4-FFF2-40B4-BE49-F238E27FC236}">
                <a16:creationId xmlns:a16="http://schemas.microsoft.com/office/drawing/2014/main" id="{E897D971-6F3B-45C3-94F1-674875A0CDA9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AC04294E-DFEF-4992-9251-141AB1512E1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4731"/>
          <a:stretch/>
        </p:blipFill>
        <p:spPr>
          <a:xfrm>
            <a:off x="472801" y="5060872"/>
            <a:ext cx="2908448" cy="1040073"/>
          </a:xfrm>
          <a:prstGeom prst="rect">
            <a:avLst/>
          </a:prstGeom>
        </p:spPr>
      </p:pic>
      <p:sp>
        <p:nvSpPr>
          <p:cNvPr id="65" name="Oval 64">
            <a:extLst>
              <a:ext uri="{FF2B5EF4-FFF2-40B4-BE49-F238E27FC236}">
                <a16:creationId xmlns:a16="http://schemas.microsoft.com/office/drawing/2014/main" id="{A393DF48-6267-45C2-BECC-394F29EAE5E7}"/>
              </a:ext>
            </a:extLst>
          </p:cNvPr>
          <p:cNvSpPr/>
          <p:nvPr/>
        </p:nvSpPr>
        <p:spPr>
          <a:xfrm>
            <a:off x="412859" y="4916331"/>
            <a:ext cx="647460" cy="502543"/>
          </a:xfrm>
          <a:prstGeom prst="ellipse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66" name="Graphic 65" descr="Cursor">
            <a:extLst>
              <a:ext uri="{FF2B5EF4-FFF2-40B4-BE49-F238E27FC236}">
                <a16:creationId xmlns:a16="http://schemas.microsoft.com/office/drawing/2014/main" id="{60F7A790-6BA9-4D6F-A077-E99432C12F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20277" y="5742952"/>
            <a:ext cx="639649" cy="6396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9" name="Graphic 68" descr="Line arrow Counter clockwise curve">
            <a:extLst>
              <a:ext uri="{FF2B5EF4-FFF2-40B4-BE49-F238E27FC236}">
                <a16:creationId xmlns:a16="http://schemas.microsoft.com/office/drawing/2014/main" id="{DDC66FB6-65B0-4F80-92E5-E329FD17407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3844849">
            <a:off x="8970002" y="1399515"/>
            <a:ext cx="914400" cy="914400"/>
          </a:xfrm>
          <a:prstGeom prst="rect">
            <a:avLst/>
          </a:prstGeom>
        </p:spPr>
      </p:pic>
      <p:sp>
        <p:nvSpPr>
          <p:cNvPr id="70" name="Text Box 2">
            <a:extLst>
              <a:ext uri="{FF2B5EF4-FFF2-40B4-BE49-F238E27FC236}">
                <a16:creationId xmlns:a16="http://schemas.microsoft.com/office/drawing/2014/main" id="{7B4C950B-095A-4887-BD20-8478BD968C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38408" y="1976400"/>
            <a:ext cx="3186224" cy="3585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34938" algn="l"/>
              </a:tabLst>
              <a:defRPr/>
            </a:pPr>
            <a:r>
              <a:rPr lang="en-US" sz="1200" b="1" kern="120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spac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Use the full workspace in your slides. The spaces is defined on this slide by the dashed line.</a:t>
            </a: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To view guide lines:</a:t>
            </a: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lick the </a:t>
            </a:r>
            <a:r>
              <a:rPr lang="en-US" sz="1000" b="1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View</a:t>
            </a: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tab, set tick mark next to Guides.</a:t>
            </a: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228600" indent="-228600" eaLnBrk="1" hangingPunct="1">
              <a:spcAft>
                <a:spcPts val="600"/>
              </a:spcAft>
              <a:buFont typeface="+mj-lt"/>
              <a:buAutoNum type="arabicPeriod"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0" indent="0" eaLnBrk="1" hangingPunct="1">
              <a:spcAft>
                <a:spcPts val="600"/>
              </a:spcAft>
              <a:buFont typeface="+mj-lt"/>
              <a:buNone/>
              <a:defRPr/>
            </a:pP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Hint: Alt + F9 for quick viewing of guides</a:t>
            </a:r>
          </a:p>
          <a:p>
            <a:pPr marL="0" indent="0" eaLnBrk="1" hangingPunct="1">
              <a:spcAft>
                <a:spcPts val="600"/>
              </a:spcAft>
              <a:buFont typeface="+mj-lt"/>
              <a:buNone/>
              <a:defRPr/>
            </a:pPr>
            <a:endParaRPr lang="en-US" sz="1000" b="0" kern="1200" noProof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0" indent="0" eaLnBrk="1" hangingPunct="1">
              <a:spcAft>
                <a:spcPts val="600"/>
              </a:spcAft>
              <a:buFont typeface="+mj-lt"/>
              <a:buNone/>
              <a:defRPr/>
            </a:pPr>
            <a:r>
              <a:rPr lang="en-US" sz="1200" b="1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Please delete</a:t>
            </a:r>
          </a:p>
          <a:p>
            <a:pPr marL="0" indent="0" eaLnBrk="1" hangingPunct="1">
              <a:spcAft>
                <a:spcPts val="600"/>
              </a:spcAft>
              <a:buFont typeface="+mj-lt"/>
              <a:buNone/>
              <a:defRPr/>
            </a:pP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elete unused slides, and this slide as well.</a:t>
            </a:r>
          </a:p>
          <a:p>
            <a:pPr marL="0" indent="0" eaLnBrk="1" hangingPunct="1">
              <a:spcAft>
                <a:spcPts val="600"/>
              </a:spcAft>
              <a:buFont typeface="+mj-lt"/>
              <a:buNone/>
              <a:defRPr/>
            </a:pPr>
            <a:r>
              <a:rPr lang="en-US" sz="10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Have fun!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4AA14CB3-145F-4ECB-AD82-6342A0310297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3479" b="5727"/>
          <a:stretch/>
        </p:blipFill>
        <p:spPr>
          <a:xfrm>
            <a:off x="8138410" y="3069764"/>
            <a:ext cx="3186222" cy="943339"/>
          </a:xfrm>
          <a:prstGeom prst="rect">
            <a:avLst/>
          </a:prstGeom>
        </p:spPr>
      </p:pic>
      <p:sp>
        <p:nvSpPr>
          <p:cNvPr id="73" name="Oval 72">
            <a:extLst>
              <a:ext uri="{FF2B5EF4-FFF2-40B4-BE49-F238E27FC236}">
                <a16:creationId xmlns:a16="http://schemas.microsoft.com/office/drawing/2014/main" id="{7ACAE650-2B78-4BEC-911A-302D0DF706E8}"/>
              </a:ext>
            </a:extLst>
          </p:cNvPr>
          <p:cNvSpPr/>
          <p:nvPr/>
        </p:nvSpPr>
        <p:spPr>
          <a:xfrm>
            <a:off x="10759163" y="3010573"/>
            <a:ext cx="708143" cy="549644"/>
          </a:xfrm>
          <a:prstGeom prst="ellipse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74" name="Graphic 73" descr="Cursor">
            <a:extLst>
              <a:ext uri="{FF2B5EF4-FFF2-40B4-BE49-F238E27FC236}">
                <a16:creationId xmlns:a16="http://schemas.microsoft.com/office/drawing/2014/main" id="{1C7B5C86-1E51-404F-A90F-0AC629BF07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86986" y="3693278"/>
            <a:ext cx="639649" cy="6396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5" name="Graphic 74" descr="Line arrow Counter clockwise curve">
            <a:extLst>
              <a:ext uri="{FF2B5EF4-FFF2-40B4-BE49-F238E27FC236}">
                <a16:creationId xmlns:a16="http://schemas.microsoft.com/office/drawing/2014/main" id="{44088E6E-C177-470F-B38B-0503313A9B4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9434076">
            <a:off x="4085649" y="3249778"/>
            <a:ext cx="914400" cy="91440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D71E4DF5-8E5C-4A05-858E-4B4259494C3B}"/>
              </a:ext>
            </a:extLst>
          </p:cNvPr>
          <p:cNvGrpSpPr/>
          <p:nvPr userDrawn="1"/>
        </p:nvGrpSpPr>
        <p:grpSpPr>
          <a:xfrm>
            <a:off x="827088" y="539750"/>
            <a:ext cx="11109325" cy="5787577"/>
            <a:chOff x="827088" y="539750"/>
            <a:chExt cx="11109325" cy="5787577"/>
          </a:xfrm>
        </p:grpSpPr>
        <p:sp>
          <p:nvSpPr>
            <p:cNvPr id="28" name="Header">
              <a:extLst>
                <a:ext uri="{FF2B5EF4-FFF2-40B4-BE49-F238E27FC236}">
                  <a16:creationId xmlns:a16="http://schemas.microsoft.com/office/drawing/2014/main" id="{8210C054-27A1-42B5-92C5-F438FAD6797D}"/>
                </a:ext>
              </a:extLst>
            </p:cNvPr>
            <p:cNvSpPr txBox="1"/>
            <p:nvPr userDrawn="1"/>
          </p:nvSpPr>
          <p:spPr>
            <a:xfrm>
              <a:off x="827088" y="539750"/>
              <a:ext cx="11109325" cy="65017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noAutofit/>
            </a:bodyPr>
            <a:lstStyle/>
            <a:p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User guide – delete before use</a:t>
              </a:r>
              <a:endParaRPr lang="en-US" sz="1800" dirty="0"/>
            </a:p>
          </p:txBody>
        </p:sp>
        <p:sp>
          <p:nvSpPr>
            <p:cNvPr id="29" name="TextBox 5">
              <a:extLst>
                <a:ext uri="{FF2B5EF4-FFF2-40B4-BE49-F238E27FC236}">
                  <a16:creationId xmlns:a16="http://schemas.microsoft.com/office/drawing/2014/main" id="{60248102-AFF2-4C02-8A8B-65BE9D3988A6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827088" y="1849178"/>
              <a:ext cx="1838871" cy="1231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spcAft>
                  <a:spcPts val="600"/>
                </a:spcAft>
                <a:tabLst>
                  <a:tab pos="134938" algn="l"/>
                </a:tabLst>
              </a:pPr>
              <a:r>
                <a:rPr lang="en-GB" sz="1000" b="1" noProof="1">
                  <a:solidFill>
                    <a:schemeClr val="tx1"/>
                  </a:solidFill>
                </a:rPr>
                <a:t>Choose Printer version </a:t>
              </a:r>
              <a:br>
                <a:rPr lang="en-GB" sz="1000" b="1" noProof="1">
                  <a:solidFill>
                    <a:schemeClr val="tx1"/>
                  </a:solidFill>
                </a:rPr>
              </a:br>
              <a:r>
                <a:rPr lang="en-GB" sz="1000" b="1" noProof="1">
                  <a:solidFill>
                    <a:schemeClr val="tx1"/>
                  </a:solidFill>
                </a:rPr>
                <a:t>(White background)</a:t>
              </a:r>
            </a:p>
            <a:p>
              <a:pPr marL="0" indent="0" algn="l" eaLnBrk="1" hangingPunct="1">
                <a:spcAft>
                  <a:spcPts val="600"/>
                </a:spcAft>
                <a:buFontTx/>
                <a:buNone/>
                <a:tabLst>
                  <a:tab pos="134938" algn="l"/>
                </a:tabLst>
              </a:pPr>
              <a:r>
                <a:rPr lang="en-GB" sz="900" b="1" baseline="0" noProof="1">
                  <a:solidFill>
                    <a:schemeClr val="tx1"/>
                  </a:solidFill>
                </a:rPr>
                <a:t>1.	</a:t>
              </a:r>
              <a:r>
                <a:rPr lang="en-GB" sz="900" b="0" i="0" baseline="0" noProof="1">
                  <a:solidFill>
                    <a:schemeClr val="tx1"/>
                  </a:solidFill>
                </a:rPr>
                <a:t>Click on </a:t>
              </a:r>
              <a:r>
                <a:rPr lang="en-GB" sz="900" b="1" baseline="0" noProof="1">
                  <a:solidFill>
                    <a:schemeClr val="tx1"/>
                  </a:solidFill>
                </a:rPr>
                <a:t>Design</a:t>
              </a:r>
              <a:r>
                <a:rPr lang="en-GB" sz="900" b="0" baseline="0" noProof="1">
                  <a:solidFill>
                    <a:schemeClr val="tx1"/>
                  </a:solidFill>
                </a:rPr>
                <a:t>-TAB</a:t>
              </a:r>
            </a:p>
            <a:p>
              <a:pPr marL="0" indent="0" algn="l" eaLnBrk="1" hangingPunct="1">
                <a:spcAft>
                  <a:spcPts val="600"/>
                </a:spcAft>
                <a:buFontTx/>
                <a:buNone/>
                <a:tabLst>
                  <a:tab pos="134938" algn="l"/>
                </a:tabLst>
              </a:pPr>
              <a:r>
                <a:rPr lang="en-GB" sz="900" b="1" baseline="0" noProof="1">
                  <a:solidFill>
                    <a:schemeClr val="tx1"/>
                  </a:solidFill>
                </a:rPr>
                <a:t>2.	</a:t>
              </a:r>
              <a:r>
                <a:rPr lang="en-GB" sz="900" baseline="0" noProof="1">
                  <a:solidFill>
                    <a:schemeClr val="tx1"/>
                  </a:solidFill>
                </a:rPr>
                <a:t>In </a:t>
              </a:r>
              <a:r>
                <a:rPr lang="en-GB" sz="900" b="1" baseline="0" noProof="1">
                  <a:solidFill>
                    <a:schemeClr val="tx1"/>
                  </a:solidFill>
                </a:rPr>
                <a:t>Themes-section</a:t>
              </a:r>
              <a:r>
                <a:rPr lang="en-GB" sz="900" baseline="0" noProof="1">
                  <a:solidFill>
                    <a:schemeClr val="tx1"/>
                  </a:solidFill>
                </a:rPr>
                <a:t>, </a:t>
              </a:r>
              <a:br>
                <a:rPr lang="en-GB" sz="900" baseline="0" noProof="1">
                  <a:solidFill>
                    <a:schemeClr val="tx1"/>
                  </a:solidFill>
                </a:rPr>
              </a:br>
              <a:r>
                <a:rPr lang="en-GB" sz="900" baseline="0" noProof="1">
                  <a:solidFill>
                    <a:schemeClr val="tx1"/>
                  </a:solidFill>
                </a:rPr>
                <a:t>right click on </a:t>
              </a:r>
              <a:r>
                <a:rPr lang="en-GB" sz="900" b="1" baseline="0" noProof="1">
                  <a:solidFill>
                    <a:schemeClr val="tx1"/>
                  </a:solidFill>
                </a:rPr>
                <a:t>Print ROCK, Print LIFE or Print SPIRIT-theme</a:t>
              </a:r>
            </a:p>
            <a:p>
              <a:pPr marL="0" indent="0" algn="l" eaLnBrk="1" hangingPunct="1">
                <a:spcAft>
                  <a:spcPts val="600"/>
                </a:spcAft>
                <a:buFontTx/>
                <a:buNone/>
                <a:tabLst>
                  <a:tab pos="134938" algn="l"/>
                </a:tabLst>
              </a:pPr>
              <a:r>
                <a:rPr lang="en-GB" sz="900" b="1" baseline="0" noProof="1">
                  <a:solidFill>
                    <a:schemeClr val="tx1"/>
                  </a:solidFill>
                </a:rPr>
                <a:t>3. </a:t>
              </a:r>
              <a:r>
                <a:rPr lang="en-GB" sz="900" b="0" baseline="0" noProof="1">
                  <a:solidFill>
                    <a:schemeClr val="tx1"/>
                  </a:solidFill>
                </a:rPr>
                <a:t>Choose </a:t>
              </a:r>
              <a:r>
                <a:rPr lang="en-GB" sz="900" b="1" baseline="0" noProof="1">
                  <a:solidFill>
                    <a:schemeClr val="tx1"/>
                  </a:solidFill>
                </a:rPr>
                <a:t>Use on all slides</a:t>
              </a:r>
              <a:endParaRPr lang="en-GB" sz="900" noProof="1">
                <a:solidFill>
                  <a:schemeClr val="tx1"/>
                </a:solidFill>
              </a:endParaRPr>
            </a:p>
          </p:txBody>
        </p:sp>
        <p:pic>
          <p:nvPicPr>
            <p:cNvPr id="30" name="Picture 2" descr="C:\Users\MTC\AppData\Local\Temp\SNAGHTML5300505.PNG">
              <a:extLst>
                <a:ext uri="{FF2B5EF4-FFF2-40B4-BE49-F238E27FC236}">
                  <a16:creationId xmlns:a16="http://schemas.microsoft.com/office/drawing/2014/main" id="{56D03D90-49C3-4194-A8A3-46C5A86A06C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589" b="83616"/>
            <a:stretch/>
          </p:blipFill>
          <p:spPr bwMode="auto">
            <a:xfrm>
              <a:off x="827088" y="3134834"/>
              <a:ext cx="528402" cy="2543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 Box 2">
              <a:extLst>
                <a:ext uri="{FF2B5EF4-FFF2-40B4-BE49-F238E27FC236}">
                  <a16:creationId xmlns:a16="http://schemas.microsoft.com/office/drawing/2014/main" id="{D0D646FD-733D-46AD-9018-767D794DFC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97226" y="1849178"/>
              <a:ext cx="2385340" cy="4478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144000" bIns="0" anchor="t" anchorCtr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Aft>
                  <a:spcPts val="600"/>
                </a:spcAft>
                <a:defRPr/>
              </a:pPr>
              <a:r>
                <a:rPr lang="en-US" sz="10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e text</a:t>
              </a:r>
              <a:r>
                <a:rPr lang="en-US" sz="1000" b="1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tyles</a:t>
              </a:r>
              <a:endParaRPr lang="en-US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e the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key</a:t>
              </a:r>
              <a:r>
                <a:rPr lang="en-US" altLang="da-DK" sz="900" b="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jump through </a:t>
              </a:r>
              <a:br>
                <a:rPr lang="en-US" altLang="da-DK" sz="900" b="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vels. Click </a:t>
              </a:r>
              <a:r>
                <a:rPr lang="en-US" altLang="da-DK" sz="900" b="1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TER</a:t>
              </a:r>
              <a:r>
                <a:rPr lang="en-US" altLang="da-DK" sz="900" b="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then </a:t>
              </a:r>
              <a:r>
                <a:rPr lang="en-US" altLang="da-DK" sz="900" b="1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en-US" altLang="da-DK" sz="900" b="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switch from one level to the next level</a:t>
              </a:r>
            </a:p>
            <a:p>
              <a:pPr eaLnBrk="1" hangingPunct="1">
                <a:spcAft>
                  <a:spcPts val="1200"/>
                </a:spcAft>
                <a:defRPr/>
              </a:pPr>
              <a:r>
                <a:rPr lang="en-US" altLang="da-DK" sz="900" b="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go back in levels use </a:t>
              </a:r>
              <a:r>
                <a:rPr lang="en-US" altLang="da-DK" sz="900" b="1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-TAB</a:t>
              </a:r>
              <a:endParaRPr lang="en-US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ternatively, </a:t>
              </a:r>
              <a:r>
                <a:rPr lang="en-US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rease</a:t>
              </a:r>
              <a:r>
                <a:rPr lang="en-US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nd</a:t>
              </a:r>
              <a:br>
                <a:rPr lang="en-US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b="1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rease </a:t>
              </a:r>
              <a:r>
                <a:rPr lang="en-US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st level can be used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r use the bulet button to turn on and off the bullet</a:t>
              </a:r>
            </a:p>
            <a:p>
              <a:pPr eaLnBrk="1" hangingPunct="1">
                <a:spcBef>
                  <a:spcPts val="1200"/>
                </a:spcBef>
                <a:spcAft>
                  <a:spcPts val="600"/>
                </a:spcAft>
                <a:defRPr/>
              </a:pPr>
              <a:r>
                <a:rPr lang="en-US" sz="10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e layouts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he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me tab</a:t>
              </a:r>
              <a:endParaRPr lang="en-US" altLang="da-DK" sz="900" b="0" strike="sngStrike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he </a:t>
              </a:r>
              <a:r>
                <a:rPr lang="en-US" altLang="da-DK" sz="900" b="1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w Slide </a:t>
              </a:r>
              <a: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nu to insert </a:t>
              </a:r>
              <a:b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w slide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</a:t>
              </a:r>
              <a: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oose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yout</a:t>
              </a:r>
              <a:r>
                <a:rPr lang="en-US" altLang="da-DK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change an appropriate layout from the </a:t>
              </a:r>
              <a:r>
                <a:rPr lang="en-US" altLang="da-DK" sz="900" strike="noStrike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"</a:t>
              </a:r>
              <a:r>
                <a:rPr lang="en-US" altLang="da-DK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rop down</a:t>
              </a:r>
              <a:r>
                <a:rPr lang="en-US" altLang="da-DK" sz="900" strike="noStrike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"</a:t>
              </a:r>
              <a:r>
                <a:rPr lang="en-US" altLang="da-DK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enu </a:t>
              </a:r>
            </a:p>
            <a:p>
              <a:pPr fontAlgn="auto">
                <a:spcBef>
                  <a:spcPts val="1200"/>
                </a:spcBef>
                <a:spcAft>
                  <a:spcPts val="600"/>
                </a:spcAft>
                <a:buFont typeface="+mj-lt"/>
                <a:buNone/>
                <a:defRPr/>
              </a:pPr>
              <a:r>
                <a:rPr lang="en-US" sz="10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et slide</a:t>
              </a:r>
            </a:p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</a:t>
              </a:r>
              <a: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Click the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me tab</a:t>
              </a:r>
              <a:endParaRPr lang="en-US" altLang="da-DK" sz="900" strike="sngStrike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+mj-lt"/>
                <a:buNone/>
                <a:tabLst/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</a:t>
              </a:r>
              <a: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Click the </a:t>
              </a:r>
              <a:r>
                <a:rPr lang="en-US" altLang="da-DK" sz="900" b="1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et </a:t>
              </a:r>
              <a:r>
                <a:rPr lang="en-US" altLang="da-DK" sz="90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nu to reset position, size</a:t>
              </a:r>
              <a:r>
                <a:rPr lang="en-US" altLang="da-DK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nd formatting of the slide </a:t>
              </a:r>
              <a:br>
                <a:rPr lang="en-US" altLang="da-DK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aseline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ceholders to their default settings</a:t>
              </a:r>
              <a:endParaRPr lang="en-US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spcAft>
                  <a:spcPts val="600"/>
                </a:spcAft>
                <a:defRPr/>
              </a:pPr>
              <a:endParaRPr lang="en-US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spcAft>
                  <a:spcPts val="240"/>
                </a:spcAft>
                <a:defRPr/>
              </a:pPr>
              <a:endParaRPr lang="en-US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Text Box 3">
              <a:extLst>
                <a:ext uri="{FF2B5EF4-FFF2-40B4-BE49-F238E27FC236}">
                  <a16:creationId xmlns:a16="http://schemas.microsoft.com/office/drawing/2014/main" id="{143194DD-118F-4665-8B54-5CF3186364D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2964" y="1849178"/>
              <a:ext cx="2160798" cy="25083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144000" bIns="0" anchor="t" anchorCtr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Aft>
                  <a:spcPts val="600"/>
                </a:spcAft>
                <a:defRPr/>
              </a:pPr>
              <a:r>
                <a:rPr lang="en-US" sz="10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picture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 slides with picture placeholder,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on the icon and choose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</a:t>
              </a:r>
            </a:p>
            <a:p>
              <a:pPr eaLnBrk="1" hangingPunct="1">
                <a:spcBef>
                  <a:spcPts val="1200"/>
                </a:spcBef>
                <a:spcAft>
                  <a:spcPts val="600"/>
                </a:spcAft>
                <a:defRPr/>
              </a:pPr>
              <a:r>
                <a:rPr lang="en-US" sz="10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 picture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op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change size or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us of the picture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 you want to scale the picture,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ld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key down while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ragging the corners of the picture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nt: 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 you delete the picture and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a new one, the picture may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e in front of the text or graphic.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 this happens, select the picture,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ght-click and choose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 to Back</a:t>
              </a:r>
            </a:p>
          </p:txBody>
        </p:sp>
        <p:sp>
          <p:nvSpPr>
            <p:cNvPr id="33" name="Text Box 4">
              <a:extLst>
                <a:ext uri="{FF2B5EF4-FFF2-40B4-BE49-F238E27FC236}">
                  <a16:creationId xmlns:a16="http://schemas.microsoft.com/office/drawing/2014/main" id="{678790B0-2204-4A9F-854B-A06D2E6A54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2964" y="4539067"/>
              <a:ext cx="2160798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144000" bIns="0" anchor="t" anchorCtr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1200"/>
                </a:spcBef>
                <a:spcAft>
                  <a:spcPts val="600"/>
                </a:spcAft>
                <a:defRPr/>
              </a:pPr>
              <a:r>
                <a:rPr lang="en-US" sz="10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uides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view drawing guides</a:t>
              </a: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he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ew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ab, set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ck mark next to </a:t>
              </a: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uides</a:t>
              </a:r>
              <a:endPara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spcAft>
                  <a:spcPts val="600"/>
                </a:spcAft>
                <a:defRPr/>
              </a:pPr>
              <a:r>
                <a:rPr lang="en-US" altLang="da-DK" sz="900" b="1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nt: Alt + F9 </a:t>
              </a: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quick </a:t>
              </a:r>
              <a:b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da-DK" sz="900" b="0" noProof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ewing of guides</a:t>
              </a:r>
            </a:p>
          </p:txBody>
        </p:sp>
        <p:pic>
          <p:nvPicPr>
            <p:cNvPr id="34" name="1 Increase decrease">
              <a:extLst>
                <a:ext uri="{FF2B5EF4-FFF2-40B4-BE49-F238E27FC236}">
                  <a16:creationId xmlns:a16="http://schemas.microsoft.com/office/drawing/2014/main" id="{C2391FFB-4410-475A-B46F-410BCD7A4D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/>
            <a:stretch>
              <a:fillRect/>
            </a:stretch>
          </p:blipFill>
          <p:spPr>
            <a:xfrm>
              <a:off x="6058023" y="2892519"/>
              <a:ext cx="549328" cy="285228"/>
            </a:xfrm>
            <a:prstGeom prst="rect">
              <a:avLst/>
            </a:prstGeom>
          </p:spPr>
        </p:pic>
        <p:pic>
          <p:nvPicPr>
            <p:cNvPr id="35" name="3 Layout">
              <a:extLst>
                <a:ext uri="{FF2B5EF4-FFF2-40B4-BE49-F238E27FC236}">
                  <a16:creationId xmlns:a16="http://schemas.microsoft.com/office/drawing/2014/main" id="{85277199-8E0F-4844-A43D-39F6B1F5DF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l="36944" r="2272" b="69429"/>
            <a:stretch/>
          </p:blipFill>
          <p:spPr>
            <a:xfrm>
              <a:off x="6087407" y="4722549"/>
              <a:ext cx="593368" cy="192211"/>
            </a:xfrm>
            <a:prstGeom prst="rect">
              <a:avLst/>
            </a:prstGeom>
          </p:spPr>
        </p:pic>
        <p:pic>
          <p:nvPicPr>
            <p:cNvPr id="36" name="4 Reset">
              <a:extLst>
                <a:ext uri="{FF2B5EF4-FFF2-40B4-BE49-F238E27FC236}">
                  <a16:creationId xmlns:a16="http://schemas.microsoft.com/office/drawing/2014/main" id="{BA1DBB2C-B9DD-4FAE-94BC-3B5BDE2327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6089395" y="5334031"/>
              <a:ext cx="492452" cy="200416"/>
            </a:xfrm>
            <a:prstGeom prst="rect">
              <a:avLst/>
            </a:prstGeom>
          </p:spPr>
        </p:pic>
        <p:pic>
          <p:nvPicPr>
            <p:cNvPr id="37" name="5 Insert picture">
              <a:extLst>
                <a:ext uri="{FF2B5EF4-FFF2-40B4-BE49-F238E27FC236}">
                  <a16:creationId xmlns:a16="http://schemas.microsoft.com/office/drawing/2014/main" id="{3BA3CA36-9CA1-4F44-95C6-51E76CA99D0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9290186" y="2090476"/>
              <a:ext cx="262151" cy="256054"/>
            </a:xfrm>
            <a:prstGeom prst="rect">
              <a:avLst/>
            </a:prstGeom>
          </p:spPr>
        </p:pic>
        <p:pic>
          <p:nvPicPr>
            <p:cNvPr id="41" name="6 Crop">
              <a:extLst>
                <a:ext uri="{FF2B5EF4-FFF2-40B4-BE49-F238E27FC236}">
                  <a16:creationId xmlns:a16="http://schemas.microsoft.com/office/drawing/2014/main" id="{06416342-4EFA-410B-8058-1824C72DB4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/>
            <a:stretch>
              <a:fillRect/>
            </a:stretch>
          </p:blipFill>
          <p:spPr>
            <a:xfrm>
              <a:off x="9270818" y="2763798"/>
              <a:ext cx="337400" cy="321707"/>
            </a:xfrm>
            <a:prstGeom prst="rect">
              <a:avLst/>
            </a:prstGeom>
          </p:spPr>
        </p:pic>
        <p:pic>
          <p:nvPicPr>
            <p:cNvPr id="43" name="7 Scale picture">
              <a:extLst>
                <a:ext uri="{FF2B5EF4-FFF2-40B4-BE49-F238E27FC236}">
                  <a16:creationId xmlns:a16="http://schemas.microsoft.com/office/drawing/2014/main" id="{BC28E584-DF6E-4DA3-908F-6255825A44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/>
            <a:stretch>
              <a:fillRect/>
            </a:stretch>
          </p:blipFill>
          <p:spPr>
            <a:xfrm>
              <a:off x="9248523" y="3257788"/>
              <a:ext cx="359695" cy="335309"/>
            </a:xfrm>
            <a:prstGeom prst="rect">
              <a:avLst/>
            </a:prstGeom>
          </p:spPr>
        </p:pic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B229733C-2392-4476-ACDC-5A37FDDE231A}"/>
                </a:ext>
              </a:extLst>
            </p:cNvPr>
            <p:cNvGrpSpPr/>
            <p:nvPr userDrawn="1"/>
          </p:nvGrpSpPr>
          <p:grpSpPr>
            <a:xfrm>
              <a:off x="827088" y="3257788"/>
              <a:ext cx="2795374" cy="924292"/>
              <a:chOff x="827088" y="4250867"/>
              <a:chExt cx="2795374" cy="924292"/>
            </a:xfrm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1395D33B-1345-41E4-B960-344DA9A42498}"/>
                  </a:ext>
                </a:extLst>
              </p:cNvPr>
              <p:cNvGrpSpPr/>
              <p:nvPr/>
            </p:nvGrpSpPr>
            <p:grpSpPr>
              <a:xfrm>
                <a:off x="827088" y="4357559"/>
                <a:ext cx="2795374" cy="521808"/>
                <a:chOff x="827088" y="4357559"/>
                <a:chExt cx="2795374" cy="521808"/>
              </a:xfrm>
            </p:grpSpPr>
            <p:pic>
              <p:nvPicPr>
                <p:cNvPr id="61" name="Picture 2" descr="C:\Users\MTC\AppData\Local\Temp\SNAGHTML550a67a.PNG">
                  <a:extLst>
                    <a:ext uri="{FF2B5EF4-FFF2-40B4-BE49-F238E27FC236}">
                      <a16:creationId xmlns:a16="http://schemas.microsoft.com/office/drawing/2014/main" id="{736B9897-BF45-4464-B669-FBE19B42D8A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-2841" r="44288" b="31041"/>
                <a:stretch/>
              </p:blipFill>
              <p:spPr bwMode="auto">
                <a:xfrm>
                  <a:off x="827089" y="4357559"/>
                  <a:ext cx="2795373" cy="36499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62" name="Picture 2" descr="C:\Users\MTC\AppData\Local\Temp\SNAGHTML550a67a.PNG">
                  <a:extLst>
                    <a:ext uri="{FF2B5EF4-FFF2-40B4-BE49-F238E27FC236}">
                      <a16:creationId xmlns:a16="http://schemas.microsoft.com/office/drawing/2014/main" id="{1E81FAF9-D13E-4B42-87A6-B49446A1B52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1927" t="69255"/>
                <a:stretch/>
              </p:blipFill>
              <p:spPr bwMode="auto">
                <a:xfrm>
                  <a:off x="827088" y="4698243"/>
                  <a:ext cx="2795374" cy="18112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46" name="Picture 2" descr="C:\Users\MTC\AppData\Local\Temp\SNAGHTML5300505.PNG">
                <a:extLst>
                  <a:ext uri="{FF2B5EF4-FFF2-40B4-BE49-F238E27FC236}">
                    <a16:creationId xmlns:a16="http://schemas.microsoft.com/office/drawing/2014/main" id="{9166F050-5B09-4354-A9C3-66BE08C5E8C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753" t="86512" r="39084" b="-2467"/>
              <a:stretch/>
            </p:blipFill>
            <p:spPr bwMode="auto">
              <a:xfrm>
                <a:off x="1010969" y="4927508"/>
                <a:ext cx="1435984" cy="24765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3C18033D-8EE5-4C3C-95B4-25336D0D42D3}"/>
                  </a:ext>
                </a:extLst>
              </p:cNvPr>
              <p:cNvSpPr/>
              <p:nvPr/>
            </p:nvSpPr>
            <p:spPr>
              <a:xfrm>
                <a:off x="1310399" y="4250867"/>
                <a:ext cx="678422" cy="537937"/>
              </a:xfrm>
              <a:prstGeom prst="ellipse">
                <a:avLst/>
              </a:prstGeom>
              <a:noFill/>
              <a:ln w="190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800" rIns="46800" rtlCol="0" anchor="ctr"/>
              <a:lstStyle/>
              <a:p>
                <a:pPr algn="ctr"/>
                <a:endParaRPr lang="en-GB" sz="1200" b="1" dirty="0"/>
              </a:p>
            </p:txBody>
          </p: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53898143-B1FA-40FE-B2BA-657FDFAE4516}"/>
                  </a:ext>
                </a:extLst>
              </p:cNvPr>
              <p:cNvCxnSpPr>
                <a:stCxn id="56" idx="4"/>
                <a:endCxn id="54" idx="0"/>
              </p:cNvCxnSpPr>
              <p:nvPr/>
            </p:nvCxnSpPr>
            <p:spPr>
              <a:xfrm>
                <a:off x="1649610" y="4788804"/>
                <a:ext cx="79351" cy="138704"/>
              </a:xfrm>
              <a:prstGeom prst="line">
                <a:avLst/>
              </a:prstGeom>
              <a:ln w="1905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243634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Enter picture or leave as background color</a:t>
            </a:r>
          </a:p>
        </p:txBody>
      </p:sp>
      <p:sp>
        <p:nvSpPr>
          <p:cNvPr id="11" name="Logo on top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526185" y="6270269"/>
            <a:ext cx="1040400" cy="327600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02-05-2017</a:t>
            </a:r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570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27089" y="1208078"/>
            <a:ext cx="10741024" cy="307777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827087" y="2051049"/>
            <a:ext cx="10741025" cy="381793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nter chart, table o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02-05-2017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4493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/>
          <a:p>
            <a:r>
              <a:rPr lang="en-US"/>
              <a:t>02-05-2017</a:t>
            </a:r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custGeom>
            <a:avLst/>
            <a:gdLst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1054800 w 1054800"/>
              <a:gd name="connsiteY2" fmla="*/ 214658 h 214658"/>
              <a:gd name="connsiteX3" fmla="*/ 0 w 1054800"/>
              <a:gd name="connsiteY3" fmla="*/ 214658 h 214658"/>
              <a:gd name="connsiteX4" fmla="*/ 0 w 1054800"/>
              <a:gd name="connsiteY4" fmla="*/ 0 h 214658"/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1054800 w 1054800"/>
              <a:gd name="connsiteY2" fmla="*/ 214658 h 214658"/>
              <a:gd name="connsiteX3" fmla="*/ 0 w 1054800"/>
              <a:gd name="connsiteY3" fmla="*/ 214658 h 214658"/>
              <a:gd name="connsiteX4" fmla="*/ 0 w 1054800"/>
              <a:gd name="connsiteY4" fmla="*/ 0 h 214658"/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0 w 1054800"/>
              <a:gd name="connsiteY2" fmla="*/ 214658 h 214658"/>
              <a:gd name="connsiteX3" fmla="*/ 0 w 1054800"/>
              <a:gd name="connsiteY3" fmla="*/ 0 h 214658"/>
              <a:gd name="connsiteX0" fmla="*/ 0 w 1054800"/>
              <a:gd name="connsiteY0" fmla="*/ 0 h 0"/>
              <a:gd name="connsiteX1" fmla="*/ 1054800 w 1054800"/>
              <a:gd name="connsiteY1" fmla="*/ 0 h 0"/>
              <a:gd name="connsiteX2" fmla="*/ 0 w 1054800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54800">
                <a:moveTo>
                  <a:pt x="0" y="0"/>
                </a:moveTo>
                <a:lnTo>
                  <a:pt x="1054800" y="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9540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c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6185" y="6270269"/>
            <a:ext cx="1041149" cy="326626"/>
          </a:xfrm>
          <a:prstGeom prst="rect">
            <a:avLst/>
          </a:prstGeom>
        </p:spPr>
      </p:pic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4477871"/>
          </a:xfrm>
          <a:solidFill>
            <a:schemeClr val="bg2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Enter pictu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625A5BD-115E-4649-90FC-C7A826E60E2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5673" y="4303971"/>
            <a:ext cx="6529445" cy="2292923"/>
          </a:xfrm>
          <a:solidFill>
            <a:schemeClr val="bg2"/>
          </a:solidFill>
        </p:spPr>
        <p:txBody>
          <a:bodyPr lIns="158400" tIns="115200" rIns="158400" bIns="115200"/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b="0"/>
            </a:lvl1pPr>
            <a:lvl2pPr marL="341313" indent="-341313"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dirty="0"/>
              <a:t>Format header in bol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/>
          <a:p>
            <a:r>
              <a:rPr lang="en-US"/>
              <a:t>02-05-2017</a:t>
            </a:r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custGeom>
            <a:avLst/>
            <a:gdLst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1054800 w 1054800"/>
              <a:gd name="connsiteY2" fmla="*/ 214658 h 214658"/>
              <a:gd name="connsiteX3" fmla="*/ 0 w 1054800"/>
              <a:gd name="connsiteY3" fmla="*/ 214658 h 214658"/>
              <a:gd name="connsiteX4" fmla="*/ 0 w 1054800"/>
              <a:gd name="connsiteY4" fmla="*/ 0 h 214658"/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1054800 w 1054800"/>
              <a:gd name="connsiteY2" fmla="*/ 214658 h 214658"/>
              <a:gd name="connsiteX3" fmla="*/ 0 w 1054800"/>
              <a:gd name="connsiteY3" fmla="*/ 214658 h 214658"/>
              <a:gd name="connsiteX4" fmla="*/ 0 w 1054800"/>
              <a:gd name="connsiteY4" fmla="*/ 0 h 214658"/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0 w 1054800"/>
              <a:gd name="connsiteY2" fmla="*/ 214658 h 214658"/>
              <a:gd name="connsiteX3" fmla="*/ 0 w 1054800"/>
              <a:gd name="connsiteY3" fmla="*/ 0 h 214658"/>
              <a:gd name="connsiteX0" fmla="*/ 0 w 1054800"/>
              <a:gd name="connsiteY0" fmla="*/ 0 h 0"/>
              <a:gd name="connsiteX1" fmla="*/ 1054800 w 1054800"/>
              <a:gd name="connsiteY1" fmla="*/ 0 h 0"/>
              <a:gd name="connsiteX2" fmla="*/ 0 w 1054800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54800">
                <a:moveTo>
                  <a:pt x="0" y="0"/>
                </a:moveTo>
                <a:lnTo>
                  <a:pt x="1054800" y="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0593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c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038531" cy="6858000"/>
          </a:xfrm>
          <a:solidFill>
            <a:schemeClr val="bg2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Enter picture</a:t>
            </a:r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6185" y="6270269"/>
            <a:ext cx="1041149" cy="326626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617F579-E538-4349-9075-EA9ED3F074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4216" y="619751"/>
            <a:ext cx="6776921" cy="2225927"/>
          </a:xfrm>
          <a:solidFill>
            <a:schemeClr val="bg2"/>
          </a:solidFill>
        </p:spPr>
        <p:txBody>
          <a:bodyPr wrap="square" lIns="158400" tIns="115200" rIns="158400" bIns="115200">
            <a:sp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/>
            </a:lvl1pPr>
            <a:lvl2pPr marL="341313" indent="-341313"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dirty="0"/>
              <a:t>Format header in bol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/>
          <a:p>
            <a:r>
              <a:rPr lang="en-US"/>
              <a:t>02-05-2017</a:t>
            </a:r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custGeom>
            <a:avLst/>
            <a:gdLst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1054800 w 1054800"/>
              <a:gd name="connsiteY2" fmla="*/ 214658 h 214658"/>
              <a:gd name="connsiteX3" fmla="*/ 0 w 1054800"/>
              <a:gd name="connsiteY3" fmla="*/ 214658 h 214658"/>
              <a:gd name="connsiteX4" fmla="*/ 0 w 1054800"/>
              <a:gd name="connsiteY4" fmla="*/ 0 h 214658"/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1054800 w 1054800"/>
              <a:gd name="connsiteY2" fmla="*/ 214658 h 214658"/>
              <a:gd name="connsiteX3" fmla="*/ 0 w 1054800"/>
              <a:gd name="connsiteY3" fmla="*/ 214658 h 214658"/>
              <a:gd name="connsiteX4" fmla="*/ 0 w 1054800"/>
              <a:gd name="connsiteY4" fmla="*/ 0 h 214658"/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0 w 1054800"/>
              <a:gd name="connsiteY2" fmla="*/ 214658 h 214658"/>
              <a:gd name="connsiteX3" fmla="*/ 0 w 1054800"/>
              <a:gd name="connsiteY3" fmla="*/ 0 h 214658"/>
              <a:gd name="connsiteX0" fmla="*/ 0 w 1054800"/>
              <a:gd name="connsiteY0" fmla="*/ 0 h 0"/>
              <a:gd name="connsiteX1" fmla="*/ 1054800 w 1054800"/>
              <a:gd name="connsiteY1" fmla="*/ 0 h 0"/>
              <a:gd name="connsiteX2" fmla="*/ 0 w 1054800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54800">
                <a:moveTo>
                  <a:pt x="0" y="0"/>
                </a:moveTo>
                <a:lnTo>
                  <a:pt x="1054800" y="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43319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c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6185" y="6270269"/>
            <a:ext cx="1041149" cy="326626"/>
          </a:xfrm>
          <a:prstGeom prst="rect">
            <a:avLst/>
          </a:prstGeom>
        </p:spPr>
      </p:pic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7086600" cy="6858000"/>
          </a:xfrm>
          <a:solidFill>
            <a:schemeClr val="bg2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Enter pictu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83E6258-55B8-47FA-A361-2448758330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08250" y="617861"/>
            <a:ext cx="4732887" cy="2225927"/>
          </a:xfrm>
          <a:solidFill>
            <a:schemeClr val="bg2"/>
          </a:solidFill>
        </p:spPr>
        <p:txBody>
          <a:bodyPr wrap="square" lIns="158400" tIns="115200" rIns="158400" bIns="115200">
            <a:sp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/>
            </a:lvl1pPr>
            <a:lvl2pPr marL="341313" indent="-341313"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dirty="0"/>
              <a:t>Format header in bol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/>
          <a:p>
            <a:r>
              <a:rPr lang="en-US"/>
              <a:t>02-05-2017</a:t>
            </a:r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custGeom>
            <a:avLst/>
            <a:gdLst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1054800 w 1054800"/>
              <a:gd name="connsiteY2" fmla="*/ 214658 h 214658"/>
              <a:gd name="connsiteX3" fmla="*/ 0 w 1054800"/>
              <a:gd name="connsiteY3" fmla="*/ 214658 h 214658"/>
              <a:gd name="connsiteX4" fmla="*/ 0 w 1054800"/>
              <a:gd name="connsiteY4" fmla="*/ 0 h 214658"/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1054800 w 1054800"/>
              <a:gd name="connsiteY2" fmla="*/ 214658 h 214658"/>
              <a:gd name="connsiteX3" fmla="*/ 0 w 1054800"/>
              <a:gd name="connsiteY3" fmla="*/ 214658 h 214658"/>
              <a:gd name="connsiteX4" fmla="*/ 0 w 1054800"/>
              <a:gd name="connsiteY4" fmla="*/ 0 h 214658"/>
              <a:gd name="connsiteX0" fmla="*/ 0 w 1054800"/>
              <a:gd name="connsiteY0" fmla="*/ 0 h 214658"/>
              <a:gd name="connsiteX1" fmla="*/ 1054800 w 1054800"/>
              <a:gd name="connsiteY1" fmla="*/ 0 h 214658"/>
              <a:gd name="connsiteX2" fmla="*/ 0 w 1054800"/>
              <a:gd name="connsiteY2" fmla="*/ 214658 h 214658"/>
              <a:gd name="connsiteX3" fmla="*/ 0 w 1054800"/>
              <a:gd name="connsiteY3" fmla="*/ 0 h 214658"/>
              <a:gd name="connsiteX0" fmla="*/ 0 w 1054800"/>
              <a:gd name="connsiteY0" fmla="*/ 0 h 0"/>
              <a:gd name="connsiteX1" fmla="*/ 1054800 w 1054800"/>
              <a:gd name="connsiteY1" fmla="*/ 0 h 0"/>
              <a:gd name="connsiteX2" fmla="*/ 0 w 1054800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54800">
                <a:moveTo>
                  <a:pt x="0" y="0"/>
                </a:moveTo>
                <a:lnTo>
                  <a:pt x="1054800" y="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0909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2124892"/>
            <a:ext cx="10655356" cy="313290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F583A04-E83E-490C-93EA-6DC48F665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C68F033-E4C8-4FFD-9083-6E89BF687F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3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Emne</a:t>
            </a:r>
          </a:p>
        </p:txBody>
      </p:sp>
    </p:spTree>
    <p:extLst>
      <p:ext uri="{BB962C8B-B14F-4D97-AF65-F5344CB8AC3E}">
        <p14:creationId xmlns:p14="http://schemas.microsoft.com/office/powerpoint/2010/main" val="6085593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27089" y="1208078"/>
            <a:ext cx="10741024" cy="307777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827087" y="2051049"/>
            <a:ext cx="7071512" cy="381793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Enter chart, table o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166112" y="2048937"/>
            <a:ext cx="3402000" cy="382017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02-05-2017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0768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4E0D6FF-F00D-45C7-A8B9-6122B7A73E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199" y="1511300"/>
            <a:ext cx="5459951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EFFA882D-3B1A-4B0F-8C4B-4A307EF3A69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70638" y="1511300"/>
            <a:ext cx="546100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047392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952">
          <p15:clr>
            <a:srgbClr val="A4A3A4"/>
          </p15:clr>
        </p15:guide>
        <p15:guide id="2" pos="4013">
          <p15:clr>
            <a:srgbClr val="A4A3A4"/>
          </p15:clr>
        </p15:guide>
        <p15:guide id="3" pos="3716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4E0D6FF-F00D-45C7-A8B9-6122B7A73E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199" y="1511300"/>
            <a:ext cx="5459951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EFFA882D-3B1A-4B0F-8C4B-4A307EF3A69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70638" y="1511300"/>
            <a:ext cx="546100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3038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952">
          <p15:clr>
            <a:srgbClr val="A4A3A4"/>
          </p15:clr>
        </p15:guide>
        <p15:guide id="5" pos="4013">
          <p15:clr>
            <a:srgbClr val="A4A3A4"/>
          </p15:clr>
        </p15:guide>
        <p15:guide id="6" pos="3716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or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B374C-F223-47F3-BBF5-AB0E43943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lIns="72000" tIns="36000" rIns="72000" bIns="36000"/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EC09FC0-046C-4680-8863-00E867AAE76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14FBFAE-6F7B-4E9C-BCC3-47A94886710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0" y="1512000"/>
            <a:ext cx="11473200" cy="4647600"/>
          </a:xfrm>
          <a:ln w="19050">
            <a:noFill/>
          </a:ln>
        </p:spPr>
        <p:txBody>
          <a:bodyPr lIns="72000" tIns="36000" rIns="72000" bIns="36000"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C387FF6-39B2-4DBD-BCE1-59066521BC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7B51CE33-A654-4FEC-9FDE-2F5A1C8CD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B6A2B6-A4A4-4A4A-8CD5-698879BC50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r>
              <a:rPr lang="en-US"/>
              <a:t>02-05-20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270540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952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r>
              <a:rPr lang="en-US"/>
              <a:t>02-05-2017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8C76A65-4949-4712-B40B-9E02FAB68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635686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952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F86A0B8-2662-4C46-9EA5-A9339075675B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7BDB89-0478-4360-AB35-CE8EB6DB9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8F54DBF-A067-4A56-8AC3-7876AEEF55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F35B9AA-ACD8-4D84-AB72-7C3D1781B7C6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06747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839">
          <p15:clr>
            <a:srgbClr val="A4A3A4"/>
          </p15:clr>
        </p15:guide>
        <p15:guide id="2" pos="3653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9ED8FF1-9D26-42A9-8073-D4A294C8CEAE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1BAF997-FD75-4017-B769-FDDDCB9192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9C1B046-D6B5-4371-A674-A47AB750D9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9B19447-67A9-477A-9926-6404F0B27B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BDF280D-5740-4598-9F88-5A973A1F19D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1CF04E5-1C6D-46BE-8D2D-3374C592F1A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EF5E4F9-47C1-4917-A884-EB33552E06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CC9EE376-9E88-4E73-8A59-CB3065906C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1BFABB9-4CC8-41F9-AAD1-42B132A2A45B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548633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839">
          <p15:clr>
            <a:srgbClr val="A4A3A4"/>
          </p15:clr>
        </p15:guide>
        <p15:guide id="2" pos="3653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FDB978-3191-443B-88E5-D71E677F57EF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6CCEC0C-F71A-45E4-9C98-E2F789A96F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617F579-E538-4349-9075-EA9ED3F074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accent5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96EC195-29C5-4E6F-855E-1DA168F45016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D9FAB6A-CFE4-4439-A6A6-2F7CCD566AE7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accent4"/>
                </a:solidFill>
              </a:rPr>
              <a:pPr/>
              <a:t>‹#›</a:t>
            </a:fld>
            <a:endParaRPr lang="en-GB" sz="800" dirty="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726740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653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C2A3EC6-870A-493B-88F3-272F24566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1FA59B7-C940-4163-9565-C30FF23A12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8B34B12-4528-4532-A8B2-B4BE1137B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400" y="1512000"/>
            <a:ext cx="11472238" cy="46475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3102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3944" r:id="rId13"/>
    <p:sldLayoutId id="2147483945" r:id="rId14"/>
    <p:sldLayoutId id="2147483946" r:id="rId15"/>
    <p:sldLayoutId id="2147483947" r:id="rId16"/>
    <p:sldLayoutId id="2147483948" r:id="rId17"/>
    <p:sldLayoutId id="2147483949" r:id="rId18"/>
    <p:sldLayoutId id="2147483950" r:id="rId19"/>
    <p:sldLayoutId id="2147483951" r:id="rId20"/>
    <p:sldLayoutId id="2147483952" r:id="rId21"/>
    <p:sldLayoutId id="2147483953" r:id="rId22"/>
    <p:sldLayoutId id="2147483954" r:id="rId23"/>
    <p:sldLayoutId id="2147483955" r:id="rId24"/>
    <p:sldLayoutId id="2147483956" r:id="rId25"/>
    <p:sldLayoutId id="2147483957" r:id="rId26"/>
    <p:sldLayoutId id="2147483958" r:id="rId27"/>
    <p:sldLayoutId id="2147483959" r:id="rId28"/>
    <p:sldLayoutId id="2147483960" r:id="rId29"/>
    <p:sldLayoutId id="2147483961" r:id="rId30"/>
    <p:sldLayoutId id="2147483962" r:id="rId31"/>
    <p:sldLayoutId id="2147483964" r:id="rId32"/>
    <p:sldLayoutId id="2147483966" r:id="rId33"/>
    <p:sldLayoutId id="2147483926" r:id="rId34"/>
    <p:sldLayoutId id="2147483927" r:id="rId35"/>
    <p:sldLayoutId id="2147483928" r:id="rId36"/>
    <p:sldLayoutId id="2147483929" r:id="rId37"/>
    <p:sldLayoutId id="2147483967" r:id="rId38"/>
    <p:sldLayoutId id="2147483968" r:id="rId39"/>
    <p:sldLayoutId id="2147483969" r:id="rId4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688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532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Segoe UI Black" panose="020B0A02040204020203" pitchFamily="34" charset="0"/>
          <a:ea typeface="Segoe UI Black" panose="020B0A02040204020203" pitchFamily="34" charset="0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6">
          <p15:clr>
            <a:srgbClr val="A4A3A4"/>
          </p15:clr>
        </p15:guide>
        <p15:guide id="2" pos="7453">
          <p15:clr>
            <a:srgbClr val="A4A3A4"/>
          </p15:clr>
        </p15:guide>
        <p15:guide id="3" orient="horz" pos="226">
          <p15:clr>
            <a:srgbClr val="A4A3A4"/>
          </p15:clr>
        </p15:guide>
        <p15:guide id="4" orient="horz" pos="3880">
          <p15:clr>
            <a:srgbClr val="A4A3A4"/>
          </p15:clr>
        </p15:guide>
        <p15:guide id="5" pos="27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12" Type="http://schemas.openxmlformats.org/officeDocument/2006/relationships/image" Target="../media/image83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7.svg"/><Relationship Id="rId11" Type="http://schemas.openxmlformats.org/officeDocument/2006/relationships/image" Target="../media/image82.png"/><Relationship Id="rId5" Type="http://schemas.openxmlformats.org/officeDocument/2006/relationships/image" Target="../media/image76.png"/><Relationship Id="rId10" Type="http://schemas.openxmlformats.org/officeDocument/2006/relationships/image" Target="../media/image81.svg"/><Relationship Id="rId4" Type="http://schemas.openxmlformats.org/officeDocument/2006/relationships/image" Target="../media/image75.png"/><Relationship Id="rId9" Type="http://schemas.openxmlformats.org/officeDocument/2006/relationships/image" Target="../media/image8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3" Type="http://schemas.openxmlformats.org/officeDocument/2006/relationships/image" Target="../media/image30.png"/><Relationship Id="rId7" Type="http://schemas.openxmlformats.org/officeDocument/2006/relationships/image" Target="../media/image34.svg"/><Relationship Id="rId12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jpe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44.jpe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rive.google.com/file/d/1DQCIMiBTyXUgu-egCqM4krTQ_1Lz19Mz/view?usp=sharing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48.svg"/><Relationship Id="rId4" Type="http://schemas.openxmlformats.org/officeDocument/2006/relationships/image" Target="../media/image4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1.svg"/><Relationship Id="rId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12" Type="http://schemas.openxmlformats.org/officeDocument/2006/relationships/image" Target="../media/image6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sv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66.svg"/><Relationship Id="rId5" Type="http://schemas.openxmlformats.org/officeDocument/2006/relationships/image" Target="../media/image65.png"/><Relationship Id="rId10" Type="http://schemas.openxmlformats.org/officeDocument/2006/relationships/image" Target="../media/image70.svg"/><Relationship Id="rId4" Type="http://schemas.openxmlformats.org/officeDocument/2006/relationships/image" Target="../media/image64.png"/><Relationship Id="rId9" Type="http://schemas.openxmlformats.org/officeDocument/2006/relationships/image" Target="../media/image6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51C7249-0157-4B7C-A346-562BC2996B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02" y="0"/>
            <a:ext cx="12161596" cy="684089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6C7539F-A679-4075-8196-52DF106DD0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378346"/>
              </p:ext>
            </p:extLst>
          </p:nvPr>
        </p:nvGraphicFramePr>
        <p:xfrm>
          <a:off x="548492" y="619312"/>
          <a:ext cx="5014911" cy="24072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583">
                  <a:extLst>
                    <a:ext uri="{9D8B030D-6E8A-4147-A177-3AD203B41FA5}">
                      <a16:colId xmlns:a16="http://schemas.microsoft.com/office/drawing/2014/main" val="3060352896"/>
                    </a:ext>
                  </a:extLst>
                </a:gridCol>
                <a:gridCol w="240849">
                  <a:extLst>
                    <a:ext uri="{9D8B030D-6E8A-4147-A177-3AD203B41FA5}">
                      <a16:colId xmlns:a16="http://schemas.microsoft.com/office/drawing/2014/main" val="3852382277"/>
                    </a:ext>
                  </a:extLst>
                </a:gridCol>
                <a:gridCol w="4287583">
                  <a:extLst>
                    <a:ext uri="{9D8B030D-6E8A-4147-A177-3AD203B41FA5}">
                      <a16:colId xmlns:a16="http://schemas.microsoft.com/office/drawing/2014/main" val="3318055102"/>
                    </a:ext>
                  </a:extLst>
                </a:gridCol>
                <a:gridCol w="240849">
                  <a:extLst>
                    <a:ext uri="{9D8B030D-6E8A-4147-A177-3AD203B41FA5}">
                      <a16:colId xmlns:a16="http://schemas.microsoft.com/office/drawing/2014/main" val="2962095205"/>
                    </a:ext>
                  </a:extLst>
                </a:gridCol>
                <a:gridCol w="126047">
                  <a:extLst>
                    <a:ext uri="{9D8B030D-6E8A-4147-A177-3AD203B41FA5}">
                      <a16:colId xmlns:a16="http://schemas.microsoft.com/office/drawing/2014/main" val="337404660"/>
                    </a:ext>
                  </a:extLst>
                </a:gridCol>
              </a:tblGrid>
              <a:tr h="91083">
                <a:tc>
                  <a:txBody>
                    <a:bodyPr/>
                    <a:lstStyle/>
                    <a:p>
                      <a:pPr algn="r"/>
                      <a:endParaRPr lang="en-US" sz="100" b="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b="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972822"/>
                  </a:ext>
                </a:extLst>
              </a:tr>
              <a:tr h="930532">
                <a:tc>
                  <a:txBody>
                    <a:bodyPr/>
                    <a:lstStyle/>
                    <a:p>
                      <a:pPr algn="r"/>
                      <a:endParaRPr lang="en-US" sz="100" b="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b="0" dirty="0"/>
                    </a:p>
                  </a:txBody>
                  <a:tcPr marL="0" marR="0" marT="72000" marB="7200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4000" b="0" dirty="0">
                          <a:solidFill>
                            <a:schemeClr val="tx1"/>
                          </a:solidFill>
                          <a:latin typeface="+mj-lt"/>
                        </a:rPr>
                        <a:t>References</a:t>
                      </a:r>
                      <a:endParaRPr lang="en-US" sz="38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122400" marB="1404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/>
                    </a:p>
                  </a:txBody>
                  <a:tcPr marL="0" marR="0" marT="72000" marB="7200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9338731"/>
                  </a:ext>
                </a:extLst>
              </a:tr>
              <a:tr h="769769"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20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rojektreferencer omkring planlægning, LBS og digitalisering</a:t>
                      </a:r>
                    </a:p>
                  </a:txBody>
                  <a:tcPr marL="0" marR="0" marT="126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232503"/>
                  </a:ext>
                </a:extLst>
              </a:tr>
              <a:tr h="450971"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500" cap="none" baseline="0" dirty="0">
                        <a:latin typeface="+mj-lt"/>
                      </a:endParaRPr>
                    </a:p>
                  </a:txBody>
                  <a:tcPr marL="0" marR="0" marT="72000" marB="1872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507757"/>
                  </a:ext>
                </a:extLst>
              </a:tr>
              <a:tr h="91083"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/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cap="all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96530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1448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DB71B06-8584-4C0A-94F6-2F8FFC3E2005}"/>
              </a:ext>
            </a:extLst>
          </p:cNvPr>
          <p:cNvSpPr/>
          <p:nvPr/>
        </p:nvSpPr>
        <p:spPr>
          <a:xfrm>
            <a:off x="550863" y="1636297"/>
            <a:ext cx="10355262" cy="46073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/>
              <a:t>Lokation</a:t>
            </a:r>
            <a:endParaRPr lang="en-US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370D91-5AB5-4154-B7A0-E3168102C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sz="4400" dirty="0"/>
              <a:t>Web-App – 4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7176E6-220B-4E7F-BEA3-7FCD0091B9C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698A22D6-4B81-4EA7-98E6-8EB6A396E9D7}"/>
              </a:ext>
            </a:extLst>
          </p:cNvPr>
          <p:cNvSpPr/>
          <p:nvPr/>
        </p:nvSpPr>
        <p:spPr>
          <a:xfrm>
            <a:off x="623888" y="1563601"/>
            <a:ext cx="10355262" cy="4680035"/>
          </a:xfrm>
          <a:prstGeom prst="roundRect">
            <a:avLst>
              <a:gd name="adj" fmla="val 7814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en-US" sz="1200" b="1" dirty="0" err="1">
              <a:solidFill>
                <a:schemeClr val="tx1"/>
              </a:solidFill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C5AF67B-7B92-40A8-A195-24D62C3579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7088" y="1118582"/>
            <a:ext cx="10741024" cy="369332"/>
          </a:xfrm>
        </p:spPr>
        <p:txBody>
          <a:bodyPr/>
          <a:lstStyle/>
          <a:p>
            <a:r>
              <a:rPr lang="en-US" dirty="0"/>
              <a:t>Min </a:t>
            </a:r>
            <a:r>
              <a:rPr lang="en-US" dirty="0" err="1"/>
              <a:t>første</a:t>
            </a:r>
            <a:r>
              <a:rPr lang="en-US" dirty="0"/>
              <a:t> </a:t>
            </a:r>
            <a:r>
              <a:rPr lang="en-US" dirty="0" err="1"/>
              <a:t>applikation</a:t>
            </a:r>
            <a:endParaRPr lang="en-US" dirty="0"/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E258994A-C41A-419F-8A3E-A913F3E2F3D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26" t="4792" r="21604" b="3733"/>
          <a:stretch/>
        </p:blipFill>
        <p:spPr>
          <a:xfrm>
            <a:off x="787419" y="1772840"/>
            <a:ext cx="8728056" cy="4424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8982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A6536E-E002-4DE7-AF4E-C80B393F2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D-BIM (BIM Viewer </a:t>
            </a:r>
            <a:r>
              <a:rPr lang="en-US" dirty="0" err="1"/>
              <a:t>og</a:t>
            </a:r>
            <a:r>
              <a:rPr lang="en-US" dirty="0"/>
              <a:t> mere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E1ACF4-D1A4-45D1-97AF-BFDE1B4A53A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8DD452-74F5-4C3D-831D-1CA61961A1D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64EE0D-2D66-4903-B735-31F40FBD59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2885EC-3EC1-4811-BB32-B8A832FC0B5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4FC3FF2-5EEE-40BF-A6D0-69F84E1AE9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150" y="1275871"/>
            <a:ext cx="11191875" cy="509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526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3CE60F7-18AD-42BF-8436-5D3EE23A4C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6AEB17E-742C-451C-AFB2-CD32ED39FA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LBS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projektstyring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B462006-6B15-464D-86C9-9DDA31EDE10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F430DFC-BB1A-49C9-B89B-E751475354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863BDF9-54D4-4F6C-9E8D-750ABBC31B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E0761C-B42E-4D8D-8F09-090A1A5059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29E45C-AB27-41CD-89E1-0E134DD41F8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0699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D92D037-2615-40F2-98BD-31C2415EB3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5750" y="813501"/>
            <a:ext cx="11755050" cy="5230997"/>
          </a:xfrm>
          <a:prstGeom prst="rect">
            <a:avLst/>
          </a:prstGeom>
          <a:noFill/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16033DF-615F-060E-8D4E-58587E3689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526185" y="6270269"/>
            <a:ext cx="1040400" cy="3276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5C4A1E36-D60E-417B-A33E-E406E8F49F7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82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Content Placeholder 281">
            <a:extLst>
              <a:ext uri="{FF2B5EF4-FFF2-40B4-BE49-F238E27FC236}">
                <a16:creationId xmlns:a16="http://schemas.microsoft.com/office/drawing/2014/main" id="{7BE21353-DAB4-475C-9D2C-AFD19CF2F16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dirty="0"/>
              <a:t>Dele rammer for design – og bruge automatiserede regeltjek</a:t>
            </a:r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22126C8C-B65F-4649-8DF2-1F745FC5690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042" r="9042"/>
          <a:stretch/>
        </p:blipFill>
        <p:spPr>
          <a:xfrm>
            <a:off x="7127097" y="3125275"/>
            <a:ext cx="956440" cy="956440"/>
          </a:xfrm>
          <a:prstGeom prst="ellipse">
            <a:avLst/>
          </a:prstGeom>
          <a:ln>
            <a:solidFill>
              <a:schemeClr val="accent6"/>
            </a:solidFill>
          </a:ln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C7EE1B43-E6C6-48F6-A0DA-71FF8F44428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" r="185"/>
          <a:stretch/>
        </p:blipFill>
        <p:spPr>
          <a:xfrm>
            <a:off x="9121945" y="2306238"/>
            <a:ext cx="956440" cy="956440"/>
          </a:xfrm>
          <a:prstGeom prst="ellipse">
            <a:avLst/>
          </a:prstGeom>
          <a:ln>
            <a:solidFill>
              <a:schemeClr val="accent6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468A24-0075-45F0-A23B-915FB0A81B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042" r="9042"/>
          <a:stretch/>
        </p:blipFill>
        <p:spPr>
          <a:xfrm>
            <a:off x="839860" y="3131738"/>
            <a:ext cx="956440" cy="956440"/>
          </a:xfrm>
          <a:prstGeom prst="ellipse">
            <a:avLst/>
          </a:prstGeom>
          <a:ln>
            <a:solidFill>
              <a:schemeClr val="accent6"/>
            </a:solidFill>
          </a:ln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C6811359-9261-404C-8DFA-66ADDB92C62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" r="185"/>
          <a:stretch/>
        </p:blipFill>
        <p:spPr>
          <a:xfrm>
            <a:off x="2890210" y="2306238"/>
            <a:ext cx="956440" cy="956440"/>
          </a:xfrm>
          <a:prstGeom prst="ellipse">
            <a:avLst/>
          </a:prstGeom>
          <a:ln>
            <a:solidFill>
              <a:schemeClr val="accent6"/>
            </a:solidFill>
          </a:ln>
        </p:spPr>
      </p:pic>
      <p:sp>
        <p:nvSpPr>
          <p:cNvPr id="214" name="Freeform: Shape 213">
            <a:extLst>
              <a:ext uri="{FF2B5EF4-FFF2-40B4-BE49-F238E27FC236}">
                <a16:creationId xmlns:a16="http://schemas.microsoft.com/office/drawing/2014/main" id="{F5839F75-782C-4FF8-BB32-10EA1676DD6B}"/>
              </a:ext>
            </a:extLst>
          </p:cNvPr>
          <p:cNvSpPr/>
          <p:nvPr/>
        </p:nvSpPr>
        <p:spPr>
          <a:xfrm flipH="1">
            <a:off x="10049979" y="4510903"/>
            <a:ext cx="1214481" cy="1279447"/>
          </a:xfrm>
          <a:custGeom>
            <a:avLst/>
            <a:gdLst>
              <a:gd name="connsiteX0" fmla="*/ 0 w 1214481"/>
              <a:gd name="connsiteY0" fmla="*/ 0 h 1279447"/>
              <a:gd name="connsiteX1" fmla="*/ 0 w 1214481"/>
              <a:gd name="connsiteY1" fmla="*/ 90656 h 1279447"/>
              <a:gd name="connsiteX2" fmla="*/ 0 w 1214481"/>
              <a:gd name="connsiteY2" fmla="*/ 97686 h 1279447"/>
              <a:gd name="connsiteX3" fmla="*/ 0 w 1214481"/>
              <a:gd name="connsiteY3" fmla="*/ 188342 h 1279447"/>
              <a:gd name="connsiteX4" fmla="*/ 1214481 w 1214481"/>
              <a:gd name="connsiteY4" fmla="*/ 1279447 h 1279447"/>
              <a:gd name="connsiteX5" fmla="*/ 1214148 w 1214481"/>
              <a:gd name="connsiteY5" fmla="*/ 1188492 h 1279447"/>
              <a:gd name="connsiteX6" fmla="*/ 1214481 w 1214481"/>
              <a:gd name="connsiteY6" fmla="*/ 1188791 h 1279447"/>
              <a:gd name="connsiteX7" fmla="*/ 1214122 w 1214481"/>
              <a:gd name="connsiteY7" fmla="*/ 1090783 h 1279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4481" h="1279447">
                <a:moveTo>
                  <a:pt x="0" y="0"/>
                </a:moveTo>
                <a:lnTo>
                  <a:pt x="0" y="90656"/>
                </a:lnTo>
                <a:lnTo>
                  <a:pt x="0" y="97686"/>
                </a:lnTo>
                <a:lnTo>
                  <a:pt x="0" y="188342"/>
                </a:lnTo>
                <a:lnTo>
                  <a:pt x="1214481" y="1279447"/>
                </a:lnTo>
                <a:lnTo>
                  <a:pt x="1214148" y="1188492"/>
                </a:lnTo>
                <a:lnTo>
                  <a:pt x="1214481" y="1188791"/>
                </a:lnTo>
                <a:lnTo>
                  <a:pt x="1214122" y="1090783"/>
                </a:lnTo>
                <a:close/>
              </a:path>
            </a:pathLst>
          </a:custGeom>
          <a:solidFill>
            <a:srgbClr val="BFBFBF"/>
          </a:solidFill>
          <a:ln w="3175" cap="rnd"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208" name="Freeform: Shape 207">
            <a:extLst>
              <a:ext uri="{FF2B5EF4-FFF2-40B4-BE49-F238E27FC236}">
                <a16:creationId xmlns:a16="http://schemas.microsoft.com/office/drawing/2014/main" id="{7CF3A7CD-D871-4F1E-86B6-1DBA2D470666}"/>
              </a:ext>
            </a:extLst>
          </p:cNvPr>
          <p:cNvSpPr/>
          <p:nvPr/>
        </p:nvSpPr>
        <p:spPr>
          <a:xfrm>
            <a:off x="8314515" y="3511331"/>
            <a:ext cx="2978676" cy="2097845"/>
          </a:xfrm>
          <a:custGeom>
            <a:avLst/>
            <a:gdLst>
              <a:gd name="connsiteX0" fmla="*/ 1210597 w 2948707"/>
              <a:gd name="connsiteY0" fmla="*/ 0 h 2076738"/>
              <a:gd name="connsiteX1" fmla="*/ 2948707 w 2948707"/>
              <a:gd name="connsiteY1" fmla="*/ 991906 h 2076738"/>
              <a:gd name="connsiteX2" fmla="*/ 1738110 w 2948707"/>
              <a:gd name="connsiteY2" fmla="*/ 2076738 h 2076738"/>
              <a:gd name="connsiteX3" fmla="*/ 0 w 2948707"/>
              <a:gd name="connsiteY3" fmla="*/ 1084832 h 2076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8707" h="2076738">
                <a:moveTo>
                  <a:pt x="1210597" y="0"/>
                </a:moveTo>
                <a:lnTo>
                  <a:pt x="2948707" y="991906"/>
                </a:lnTo>
                <a:lnTo>
                  <a:pt x="1738110" y="2076738"/>
                </a:lnTo>
                <a:lnTo>
                  <a:pt x="0" y="1084832"/>
                </a:lnTo>
                <a:close/>
              </a:path>
            </a:pathLst>
          </a:custGeom>
          <a:noFill/>
          <a:ln w="19050" cap="rnd">
            <a:solidFill>
              <a:schemeClr val="accent6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grpSp>
        <p:nvGrpSpPr>
          <p:cNvPr id="223" name="Group 222">
            <a:extLst>
              <a:ext uri="{FF2B5EF4-FFF2-40B4-BE49-F238E27FC236}">
                <a16:creationId xmlns:a16="http://schemas.microsoft.com/office/drawing/2014/main" id="{3586A234-7CC7-4A04-809E-F3493E154BB5}"/>
              </a:ext>
            </a:extLst>
          </p:cNvPr>
          <p:cNvGrpSpPr/>
          <p:nvPr/>
        </p:nvGrpSpPr>
        <p:grpSpPr>
          <a:xfrm>
            <a:off x="2008084" y="3517571"/>
            <a:ext cx="3062929" cy="2265636"/>
            <a:chOff x="8202321" y="2973313"/>
            <a:chExt cx="3062929" cy="2265636"/>
          </a:xfrm>
        </p:grpSpPr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3445C9C7-6E76-4C61-809D-B27AEF852DED}"/>
                </a:ext>
              </a:extLst>
            </p:cNvPr>
            <p:cNvSpPr/>
            <p:nvPr/>
          </p:nvSpPr>
          <p:spPr>
            <a:xfrm flipH="1">
              <a:off x="10049979" y="3959502"/>
              <a:ext cx="1214481" cy="1279447"/>
            </a:xfrm>
            <a:custGeom>
              <a:avLst/>
              <a:gdLst>
                <a:gd name="connsiteX0" fmla="*/ 0 w 1214481"/>
                <a:gd name="connsiteY0" fmla="*/ 0 h 1279447"/>
                <a:gd name="connsiteX1" fmla="*/ 0 w 1214481"/>
                <a:gd name="connsiteY1" fmla="*/ 90656 h 1279447"/>
                <a:gd name="connsiteX2" fmla="*/ 0 w 1214481"/>
                <a:gd name="connsiteY2" fmla="*/ 97686 h 1279447"/>
                <a:gd name="connsiteX3" fmla="*/ 0 w 1214481"/>
                <a:gd name="connsiteY3" fmla="*/ 188342 h 1279447"/>
                <a:gd name="connsiteX4" fmla="*/ 1214481 w 1214481"/>
                <a:gd name="connsiteY4" fmla="*/ 1279447 h 1279447"/>
                <a:gd name="connsiteX5" fmla="*/ 1214148 w 1214481"/>
                <a:gd name="connsiteY5" fmla="*/ 1188492 h 1279447"/>
                <a:gd name="connsiteX6" fmla="*/ 1214481 w 1214481"/>
                <a:gd name="connsiteY6" fmla="*/ 1188791 h 1279447"/>
                <a:gd name="connsiteX7" fmla="*/ 1214122 w 1214481"/>
                <a:gd name="connsiteY7" fmla="*/ 1090783 h 1279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4481" h="1279447">
                  <a:moveTo>
                    <a:pt x="0" y="0"/>
                  </a:moveTo>
                  <a:lnTo>
                    <a:pt x="0" y="90656"/>
                  </a:lnTo>
                  <a:lnTo>
                    <a:pt x="0" y="97686"/>
                  </a:lnTo>
                  <a:lnTo>
                    <a:pt x="0" y="188342"/>
                  </a:lnTo>
                  <a:lnTo>
                    <a:pt x="1214481" y="1279447"/>
                  </a:lnTo>
                  <a:lnTo>
                    <a:pt x="1214148" y="1188492"/>
                  </a:lnTo>
                  <a:lnTo>
                    <a:pt x="1214481" y="1188791"/>
                  </a:lnTo>
                  <a:lnTo>
                    <a:pt x="1214122" y="1090783"/>
                  </a:lnTo>
                  <a:close/>
                </a:path>
              </a:pathLst>
            </a:custGeom>
            <a:solidFill>
              <a:srgbClr val="BFBFBF"/>
            </a:solidFill>
            <a:ln w="3175" cap="rnd"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AD0E33D2-DD15-48B4-A35D-DC18220EB0AB}"/>
                </a:ext>
              </a:extLst>
            </p:cNvPr>
            <p:cNvSpPr/>
            <p:nvPr/>
          </p:nvSpPr>
          <p:spPr>
            <a:xfrm>
              <a:off x="8202321" y="2973313"/>
              <a:ext cx="3062929" cy="2179094"/>
            </a:xfrm>
            <a:custGeom>
              <a:avLst/>
              <a:gdLst>
                <a:gd name="connsiteX0" fmla="*/ 1324819 w 3062929"/>
                <a:gd name="connsiteY0" fmla="*/ 0 h 2179094"/>
                <a:gd name="connsiteX1" fmla="*/ 3062929 w 3062929"/>
                <a:gd name="connsiteY1" fmla="*/ 991906 h 2179094"/>
                <a:gd name="connsiteX2" fmla="*/ 1738110 w 3062929"/>
                <a:gd name="connsiteY2" fmla="*/ 2179094 h 2179094"/>
                <a:gd name="connsiteX3" fmla="*/ 0 w 3062929"/>
                <a:gd name="connsiteY3" fmla="*/ 1187188 h 2179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2929" h="2179094">
                  <a:moveTo>
                    <a:pt x="1324819" y="0"/>
                  </a:moveTo>
                  <a:lnTo>
                    <a:pt x="3062929" y="991906"/>
                  </a:lnTo>
                  <a:lnTo>
                    <a:pt x="1738110" y="2179094"/>
                  </a:lnTo>
                  <a:lnTo>
                    <a:pt x="0" y="118718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/>
            </a:p>
          </p:txBody>
        </p:sp>
      </p:grpSp>
      <p:sp>
        <p:nvSpPr>
          <p:cNvPr id="226" name="Freeform: Shape 225">
            <a:extLst>
              <a:ext uri="{FF2B5EF4-FFF2-40B4-BE49-F238E27FC236}">
                <a16:creationId xmlns:a16="http://schemas.microsoft.com/office/drawing/2014/main" id="{E4E570A7-5375-4671-9434-D65E388E1617}"/>
              </a:ext>
            </a:extLst>
          </p:cNvPr>
          <p:cNvSpPr/>
          <p:nvPr/>
        </p:nvSpPr>
        <p:spPr>
          <a:xfrm>
            <a:off x="2122658" y="3513715"/>
            <a:ext cx="2948707" cy="2076738"/>
          </a:xfrm>
          <a:custGeom>
            <a:avLst/>
            <a:gdLst>
              <a:gd name="connsiteX0" fmla="*/ 1210597 w 2948707"/>
              <a:gd name="connsiteY0" fmla="*/ 0 h 2076738"/>
              <a:gd name="connsiteX1" fmla="*/ 2948707 w 2948707"/>
              <a:gd name="connsiteY1" fmla="*/ 991906 h 2076738"/>
              <a:gd name="connsiteX2" fmla="*/ 1738110 w 2948707"/>
              <a:gd name="connsiteY2" fmla="*/ 2076738 h 2076738"/>
              <a:gd name="connsiteX3" fmla="*/ 0 w 2948707"/>
              <a:gd name="connsiteY3" fmla="*/ 1084832 h 2076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8707" h="2076738">
                <a:moveTo>
                  <a:pt x="1210597" y="0"/>
                </a:moveTo>
                <a:lnTo>
                  <a:pt x="2948707" y="991906"/>
                </a:lnTo>
                <a:lnTo>
                  <a:pt x="1738110" y="2076738"/>
                </a:lnTo>
                <a:lnTo>
                  <a:pt x="0" y="1084832"/>
                </a:lnTo>
                <a:close/>
              </a:path>
            </a:pathLst>
          </a:custGeom>
          <a:noFill/>
          <a:ln w="19050" cap="rnd">
            <a:solidFill>
              <a:schemeClr val="accent6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204" name="Freeform: Shape 203">
            <a:extLst>
              <a:ext uri="{FF2B5EF4-FFF2-40B4-BE49-F238E27FC236}">
                <a16:creationId xmlns:a16="http://schemas.microsoft.com/office/drawing/2014/main" id="{F7660C45-FA6C-4BBA-9EE5-F2739872EBB8}"/>
              </a:ext>
            </a:extLst>
          </p:cNvPr>
          <p:cNvSpPr/>
          <p:nvPr/>
        </p:nvSpPr>
        <p:spPr>
          <a:xfrm>
            <a:off x="8202321" y="3524714"/>
            <a:ext cx="3062929" cy="2179094"/>
          </a:xfrm>
          <a:custGeom>
            <a:avLst/>
            <a:gdLst>
              <a:gd name="connsiteX0" fmla="*/ 1324819 w 3062929"/>
              <a:gd name="connsiteY0" fmla="*/ 0 h 2179094"/>
              <a:gd name="connsiteX1" fmla="*/ 3062929 w 3062929"/>
              <a:gd name="connsiteY1" fmla="*/ 991906 h 2179094"/>
              <a:gd name="connsiteX2" fmla="*/ 1738110 w 3062929"/>
              <a:gd name="connsiteY2" fmla="*/ 2179094 h 2179094"/>
              <a:gd name="connsiteX3" fmla="*/ 0 w 3062929"/>
              <a:gd name="connsiteY3" fmla="*/ 1187188 h 2179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62929" h="2179094">
                <a:moveTo>
                  <a:pt x="1324819" y="0"/>
                </a:moveTo>
                <a:lnTo>
                  <a:pt x="3062929" y="991906"/>
                </a:lnTo>
                <a:lnTo>
                  <a:pt x="1738110" y="2179094"/>
                </a:lnTo>
                <a:lnTo>
                  <a:pt x="0" y="11871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02923DA-8349-435C-960E-A8AAF02E4396}"/>
              </a:ext>
            </a:extLst>
          </p:cNvPr>
          <p:cNvGrpSpPr/>
          <p:nvPr/>
        </p:nvGrpSpPr>
        <p:grpSpPr>
          <a:xfrm>
            <a:off x="8627294" y="4585807"/>
            <a:ext cx="481719" cy="438770"/>
            <a:chOff x="5489763" y="1162463"/>
            <a:chExt cx="3309151" cy="3014116"/>
          </a:xfrm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E34DDB52-B941-4AC7-AA76-254AFBB9D3D1}"/>
                </a:ext>
              </a:extLst>
            </p:cNvPr>
            <p:cNvSpPr/>
            <p:nvPr/>
          </p:nvSpPr>
          <p:spPr>
            <a:xfrm flipH="1">
              <a:off x="5489763" y="1162463"/>
              <a:ext cx="582202" cy="1445040"/>
            </a:xfrm>
            <a:custGeom>
              <a:avLst/>
              <a:gdLst>
                <a:gd name="connsiteX0" fmla="*/ 0 w 213526"/>
                <a:gd name="connsiteY0" fmla="*/ 0 h 529977"/>
                <a:gd name="connsiteX1" fmla="*/ 0 w 213526"/>
                <a:gd name="connsiteY1" fmla="*/ 406698 h 529977"/>
                <a:gd name="connsiteX2" fmla="*/ 213526 w 213526"/>
                <a:gd name="connsiteY2" fmla="*/ 529977 h 529977"/>
                <a:gd name="connsiteX3" fmla="*/ 213526 w 213526"/>
                <a:gd name="connsiteY3" fmla="*/ 123280 h 529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526" h="529977">
                  <a:moveTo>
                    <a:pt x="0" y="0"/>
                  </a:moveTo>
                  <a:lnTo>
                    <a:pt x="0" y="406698"/>
                  </a:lnTo>
                  <a:lnTo>
                    <a:pt x="213526" y="529977"/>
                  </a:lnTo>
                  <a:lnTo>
                    <a:pt x="213526" y="123280"/>
                  </a:lnTo>
                  <a:close/>
                </a:path>
              </a:pathLst>
            </a:custGeom>
            <a:noFill/>
            <a:ln w="9525">
              <a:solidFill>
                <a:schemeClr val="accent6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67765195-A8BD-4173-A860-577D598A7583}"/>
                </a:ext>
              </a:extLst>
            </p:cNvPr>
            <p:cNvSpPr/>
            <p:nvPr/>
          </p:nvSpPr>
          <p:spPr>
            <a:xfrm flipH="1">
              <a:off x="8216712" y="2731539"/>
              <a:ext cx="582202" cy="1445040"/>
            </a:xfrm>
            <a:custGeom>
              <a:avLst/>
              <a:gdLst>
                <a:gd name="connsiteX0" fmla="*/ 0 w 213526"/>
                <a:gd name="connsiteY0" fmla="*/ 0 h 529977"/>
                <a:gd name="connsiteX1" fmla="*/ 0 w 213526"/>
                <a:gd name="connsiteY1" fmla="*/ 406698 h 529977"/>
                <a:gd name="connsiteX2" fmla="*/ 213526 w 213526"/>
                <a:gd name="connsiteY2" fmla="*/ 529977 h 529977"/>
                <a:gd name="connsiteX3" fmla="*/ 213526 w 213526"/>
                <a:gd name="connsiteY3" fmla="*/ 123280 h 529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526" h="529977">
                  <a:moveTo>
                    <a:pt x="0" y="0"/>
                  </a:moveTo>
                  <a:lnTo>
                    <a:pt x="0" y="406698"/>
                  </a:lnTo>
                  <a:lnTo>
                    <a:pt x="213526" y="529977"/>
                  </a:lnTo>
                  <a:lnTo>
                    <a:pt x="213526" y="123280"/>
                  </a:lnTo>
                  <a:close/>
                </a:path>
              </a:pathLst>
            </a:custGeom>
            <a:noFill/>
            <a:ln w="9525">
              <a:solidFill>
                <a:schemeClr val="accent6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/>
            </a:p>
          </p:txBody>
        </p: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5AAD07E8-2EC4-431C-98E0-EEC13B8FF58D}"/>
                </a:ext>
              </a:extLst>
            </p:cNvPr>
            <p:cNvCxnSpPr>
              <a:stCxn id="63" idx="0"/>
              <a:endCxn id="64" idx="0"/>
            </p:cNvCxnSpPr>
            <p:nvPr/>
          </p:nvCxnSpPr>
          <p:spPr>
            <a:xfrm>
              <a:off x="6071965" y="1162463"/>
              <a:ext cx="2726949" cy="1569076"/>
            </a:xfrm>
            <a:prstGeom prst="line">
              <a:avLst/>
            </a:prstGeom>
            <a:noFill/>
            <a:ln w="9525">
              <a:solidFill>
                <a:schemeClr val="accent6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9030DD8F-2E87-4845-88DC-FAE9B1700935}"/>
                </a:ext>
              </a:extLst>
            </p:cNvPr>
            <p:cNvCxnSpPr>
              <a:cxnSpLocks/>
              <a:stCxn id="63" idx="1"/>
              <a:endCxn id="64" idx="1"/>
            </p:cNvCxnSpPr>
            <p:nvPr/>
          </p:nvCxnSpPr>
          <p:spPr>
            <a:xfrm>
              <a:off x="6071965" y="2271369"/>
              <a:ext cx="2726949" cy="1569076"/>
            </a:xfrm>
            <a:prstGeom prst="line">
              <a:avLst/>
            </a:prstGeom>
            <a:noFill/>
            <a:ln w="9525">
              <a:solidFill>
                <a:schemeClr val="accent6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A3D93428-346E-4AF6-A54D-1680C4D3DB6D}"/>
                </a:ext>
              </a:extLst>
            </p:cNvPr>
            <p:cNvCxnSpPr>
              <a:cxnSpLocks/>
              <a:stCxn id="63" idx="3"/>
              <a:endCxn id="64" idx="3"/>
            </p:cNvCxnSpPr>
            <p:nvPr/>
          </p:nvCxnSpPr>
          <p:spPr>
            <a:xfrm>
              <a:off x="5489763" y="1498599"/>
              <a:ext cx="2726949" cy="1569076"/>
            </a:xfrm>
            <a:prstGeom prst="line">
              <a:avLst/>
            </a:prstGeom>
            <a:noFill/>
            <a:ln w="9525">
              <a:solidFill>
                <a:schemeClr val="accent6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BCDE7A71-95B8-4907-A333-8AB3DB666FB0}"/>
                </a:ext>
              </a:extLst>
            </p:cNvPr>
            <p:cNvCxnSpPr>
              <a:cxnSpLocks/>
              <a:stCxn id="63" idx="2"/>
              <a:endCxn id="64" idx="2"/>
            </p:cNvCxnSpPr>
            <p:nvPr/>
          </p:nvCxnSpPr>
          <p:spPr>
            <a:xfrm>
              <a:off x="5489763" y="2607503"/>
              <a:ext cx="2726949" cy="1569076"/>
            </a:xfrm>
            <a:prstGeom prst="line">
              <a:avLst/>
            </a:prstGeom>
            <a:noFill/>
            <a:ln w="9525">
              <a:solidFill>
                <a:schemeClr val="accent6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21" name="Freeform: Shape 220">
            <a:extLst>
              <a:ext uri="{FF2B5EF4-FFF2-40B4-BE49-F238E27FC236}">
                <a16:creationId xmlns:a16="http://schemas.microsoft.com/office/drawing/2014/main" id="{78BA177E-7D2E-45FD-9BDA-5D1BD2DDD3DA}"/>
              </a:ext>
            </a:extLst>
          </p:cNvPr>
          <p:cNvSpPr/>
          <p:nvPr/>
        </p:nvSpPr>
        <p:spPr>
          <a:xfrm>
            <a:off x="8212791" y="3574150"/>
            <a:ext cx="1723048" cy="2314352"/>
          </a:xfrm>
          <a:custGeom>
            <a:avLst/>
            <a:gdLst>
              <a:gd name="connsiteX0" fmla="*/ 227931 w 1723048"/>
              <a:gd name="connsiteY0" fmla="*/ 388473 h 2314352"/>
              <a:gd name="connsiteX1" fmla="*/ 227931 w 1723048"/>
              <a:gd name="connsiteY1" fmla="*/ 391105 h 2314352"/>
              <a:gd name="connsiteX2" fmla="*/ 225807 w 1723048"/>
              <a:gd name="connsiteY2" fmla="*/ 389885 h 2314352"/>
              <a:gd name="connsiteX3" fmla="*/ 225807 w 1723048"/>
              <a:gd name="connsiteY3" fmla="*/ 997741 h 2314352"/>
              <a:gd name="connsiteX4" fmla="*/ 227931 w 1723048"/>
              <a:gd name="connsiteY4" fmla="*/ 998961 h 2314352"/>
              <a:gd name="connsiteX5" fmla="*/ 227931 w 1723048"/>
              <a:gd name="connsiteY5" fmla="*/ 1263648 h 2314352"/>
              <a:gd name="connsiteX6" fmla="*/ 926471 w 1723048"/>
              <a:gd name="connsiteY6" fmla="*/ 1664718 h 2314352"/>
              <a:gd name="connsiteX7" fmla="*/ 926471 w 1723048"/>
              <a:gd name="connsiteY7" fmla="*/ 1372527 h 2314352"/>
              <a:gd name="connsiteX8" fmla="*/ 926471 w 1723048"/>
              <a:gd name="connsiteY8" fmla="*/ 1081735 h 2314352"/>
              <a:gd name="connsiteX9" fmla="*/ 926471 w 1723048"/>
              <a:gd name="connsiteY9" fmla="*/ 789544 h 2314352"/>
              <a:gd name="connsiteX10" fmla="*/ 0 w 1723048"/>
              <a:gd name="connsiteY10" fmla="*/ 0 h 2314352"/>
              <a:gd name="connsiteX11" fmla="*/ 1723046 w 1723048"/>
              <a:gd name="connsiteY11" fmla="*/ 989298 h 2314352"/>
              <a:gd name="connsiteX12" fmla="*/ 1723046 w 1723048"/>
              <a:gd name="connsiteY12" fmla="*/ 2195451 h 2314352"/>
              <a:gd name="connsiteX13" fmla="*/ 1723048 w 1723048"/>
              <a:gd name="connsiteY13" fmla="*/ 2195452 h 2314352"/>
              <a:gd name="connsiteX14" fmla="*/ 1723048 w 1723048"/>
              <a:gd name="connsiteY14" fmla="*/ 2314352 h 2314352"/>
              <a:gd name="connsiteX15" fmla="*/ 0 w 1723048"/>
              <a:gd name="connsiteY15" fmla="*/ 1319549 h 2314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723048" h="2314352">
                <a:moveTo>
                  <a:pt x="227931" y="388473"/>
                </a:moveTo>
                <a:lnTo>
                  <a:pt x="227931" y="391105"/>
                </a:lnTo>
                <a:lnTo>
                  <a:pt x="225807" y="389885"/>
                </a:lnTo>
                <a:lnTo>
                  <a:pt x="225807" y="997741"/>
                </a:lnTo>
                <a:lnTo>
                  <a:pt x="227931" y="998961"/>
                </a:lnTo>
                <a:lnTo>
                  <a:pt x="227931" y="1263648"/>
                </a:lnTo>
                <a:lnTo>
                  <a:pt x="926471" y="1664718"/>
                </a:lnTo>
                <a:lnTo>
                  <a:pt x="926471" y="1372527"/>
                </a:lnTo>
                <a:lnTo>
                  <a:pt x="926471" y="1081735"/>
                </a:lnTo>
                <a:lnTo>
                  <a:pt x="926471" y="789544"/>
                </a:lnTo>
                <a:close/>
                <a:moveTo>
                  <a:pt x="0" y="0"/>
                </a:moveTo>
                <a:lnTo>
                  <a:pt x="1723046" y="989298"/>
                </a:lnTo>
                <a:lnTo>
                  <a:pt x="1723046" y="2195451"/>
                </a:lnTo>
                <a:lnTo>
                  <a:pt x="1723048" y="2195452"/>
                </a:lnTo>
                <a:lnTo>
                  <a:pt x="1723048" y="2314352"/>
                </a:lnTo>
                <a:lnTo>
                  <a:pt x="0" y="1319549"/>
                </a:lnTo>
                <a:close/>
              </a:path>
            </a:pathLst>
          </a:cu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pic>
        <p:nvPicPr>
          <p:cNvPr id="140" name="Graphic 139" descr="Warning with solid fill">
            <a:extLst>
              <a:ext uri="{FF2B5EF4-FFF2-40B4-BE49-F238E27FC236}">
                <a16:creationId xmlns:a16="http://schemas.microsoft.com/office/drawing/2014/main" id="{92B3BF2C-473A-4B20-85E3-1B5B50F4DE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641522" y="4447616"/>
            <a:ext cx="138128" cy="138128"/>
          </a:xfrm>
          <a:prstGeom prst="rect">
            <a:avLst/>
          </a:prstGeom>
        </p:spPr>
      </p:pic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2629BF86-772D-4D7D-B471-A8DA8A620D1F}"/>
              </a:ext>
            </a:extLst>
          </p:cNvPr>
          <p:cNvSpPr/>
          <p:nvPr/>
        </p:nvSpPr>
        <p:spPr>
          <a:xfrm>
            <a:off x="8438360" y="3962623"/>
            <a:ext cx="117302" cy="874312"/>
          </a:xfrm>
          <a:custGeom>
            <a:avLst/>
            <a:gdLst>
              <a:gd name="connsiteX0" fmla="*/ 0 w 117302"/>
              <a:gd name="connsiteY0" fmla="*/ 0 h 874312"/>
              <a:gd name="connsiteX1" fmla="*/ 117302 w 117302"/>
              <a:gd name="connsiteY1" fmla="*/ 67844 h 874312"/>
              <a:gd name="connsiteX2" fmla="*/ 117302 w 117302"/>
              <a:gd name="connsiteY2" fmla="*/ 328863 h 874312"/>
              <a:gd name="connsiteX3" fmla="*/ 117302 w 117302"/>
              <a:gd name="connsiteY3" fmla="*/ 507907 h 874312"/>
              <a:gd name="connsiteX4" fmla="*/ 117302 w 117302"/>
              <a:gd name="connsiteY4" fmla="*/ 768926 h 874312"/>
              <a:gd name="connsiteX5" fmla="*/ 0 w 117302"/>
              <a:gd name="connsiteY5" fmla="*/ 874312 h 874312"/>
              <a:gd name="connsiteX6" fmla="*/ 0 w 117302"/>
              <a:gd name="connsiteY6" fmla="*/ 613293 h 874312"/>
              <a:gd name="connsiteX7" fmla="*/ 0 w 117302"/>
              <a:gd name="connsiteY7" fmla="*/ 261019 h 874312"/>
              <a:gd name="connsiteX0" fmla="*/ 0 w 117302"/>
              <a:gd name="connsiteY0" fmla="*/ 0 h 874312"/>
              <a:gd name="connsiteX1" fmla="*/ 117302 w 117302"/>
              <a:gd name="connsiteY1" fmla="*/ 67844 h 874312"/>
              <a:gd name="connsiteX2" fmla="*/ 117302 w 117302"/>
              <a:gd name="connsiteY2" fmla="*/ 328863 h 874312"/>
              <a:gd name="connsiteX3" fmla="*/ 117302 w 117302"/>
              <a:gd name="connsiteY3" fmla="*/ 768926 h 874312"/>
              <a:gd name="connsiteX4" fmla="*/ 0 w 117302"/>
              <a:gd name="connsiteY4" fmla="*/ 874312 h 874312"/>
              <a:gd name="connsiteX5" fmla="*/ 0 w 117302"/>
              <a:gd name="connsiteY5" fmla="*/ 613293 h 874312"/>
              <a:gd name="connsiteX6" fmla="*/ 0 w 117302"/>
              <a:gd name="connsiteY6" fmla="*/ 261019 h 874312"/>
              <a:gd name="connsiteX7" fmla="*/ 0 w 117302"/>
              <a:gd name="connsiteY7" fmla="*/ 0 h 874312"/>
              <a:gd name="connsiteX0" fmla="*/ 0 w 117302"/>
              <a:gd name="connsiteY0" fmla="*/ 0 h 874312"/>
              <a:gd name="connsiteX1" fmla="*/ 117302 w 117302"/>
              <a:gd name="connsiteY1" fmla="*/ 67844 h 874312"/>
              <a:gd name="connsiteX2" fmla="*/ 117302 w 117302"/>
              <a:gd name="connsiteY2" fmla="*/ 768926 h 874312"/>
              <a:gd name="connsiteX3" fmla="*/ 0 w 117302"/>
              <a:gd name="connsiteY3" fmla="*/ 874312 h 874312"/>
              <a:gd name="connsiteX4" fmla="*/ 0 w 117302"/>
              <a:gd name="connsiteY4" fmla="*/ 613293 h 874312"/>
              <a:gd name="connsiteX5" fmla="*/ 0 w 117302"/>
              <a:gd name="connsiteY5" fmla="*/ 261019 h 874312"/>
              <a:gd name="connsiteX6" fmla="*/ 0 w 117302"/>
              <a:gd name="connsiteY6" fmla="*/ 0 h 874312"/>
              <a:gd name="connsiteX0" fmla="*/ 0 w 117302"/>
              <a:gd name="connsiteY0" fmla="*/ 0 h 874312"/>
              <a:gd name="connsiteX1" fmla="*/ 117302 w 117302"/>
              <a:gd name="connsiteY1" fmla="*/ 67844 h 874312"/>
              <a:gd name="connsiteX2" fmla="*/ 117302 w 117302"/>
              <a:gd name="connsiteY2" fmla="*/ 768926 h 874312"/>
              <a:gd name="connsiteX3" fmla="*/ 0 w 117302"/>
              <a:gd name="connsiteY3" fmla="*/ 874312 h 874312"/>
              <a:gd name="connsiteX4" fmla="*/ 0 w 117302"/>
              <a:gd name="connsiteY4" fmla="*/ 613293 h 874312"/>
              <a:gd name="connsiteX5" fmla="*/ 0 w 117302"/>
              <a:gd name="connsiteY5" fmla="*/ 0 h 874312"/>
              <a:gd name="connsiteX0" fmla="*/ 0 w 117302"/>
              <a:gd name="connsiteY0" fmla="*/ 0 h 874312"/>
              <a:gd name="connsiteX1" fmla="*/ 117302 w 117302"/>
              <a:gd name="connsiteY1" fmla="*/ 67844 h 874312"/>
              <a:gd name="connsiteX2" fmla="*/ 117302 w 117302"/>
              <a:gd name="connsiteY2" fmla="*/ 768926 h 874312"/>
              <a:gd name="connsiteX3" fmla="*/ 0 w 117302"/>
              <a:gd name="connsiteY3" fmla="*/ 874312 h 874312"/>
              <a:gd name="connsiteX4" fmla="*/ 0 w 117302"/>
              <a:gd name="connsiteY4" fmla="*/ 0 h 874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7302" h="874312">
                <a:moveTo>
                  <a:pt x="0" y="0"/>
                </a:moveTo>
                <a:lnTo>
                  <a:pt x="117302" y="67844"/>
                </a:lnTo>
                <a:lnTo>
                  <a:pt x="117302" y="768926"/>
                </a:lnTo>
                <a:lnTo>
                  <a:pt x="0" y="87431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424814-49FC-473D-BDD9-555CA7E25D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Håndtering af designændring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B73F52D-9DDB-4D2B-8A96-4BEBAB0CC483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a-DK"/>
              <a:t>Hvilket problem har vi identificeret, som vi vil lø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AD9879-979E-4715-BC1D-5138182D3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4</a:t>
            </a:fld>
            <a:endParaRPr lang="da-DK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5AE65E4-816B-4A58-90AD-1CF6469096F6}"/>
              </a:ext>
            </a:extLst>
          </p:cNvPr>
          <p:cNvSpPr/>
          <p:nvPr/>
        </p:nvSpPr>
        <p:spPr>
          <a:xfrm>
            <a:off x="8210561" y="3467152"/>
            <a:ext cx="1843066" cy="1095453"/>
          </a:xfrm>
          <a:custGeom>
            <a:avLst/>
            <a:gdLst>
              <a:gd name="connsiteX0" fmla="*/ 119032 w 1843066"/>
              <a:gd name="connsiteY0" fmla="*/ 0 h 1095453"/>
              <a:gd name="connsiteX1" fmla="*/ 1843066 w 1843066"/>
              <a:gd name="connsiteY1" fmla="*/ 988931 h 1095453"/>
              <a:gd name="connsiteX2" fmla="*/ 1724500 w 1843066"/>
              <a:gd name="connsiteY2" fmla="*/ 1095453 h 1095453"/>
              <a:gd name="connsiteX3" fmla="*/ 0 w 1843066"/>
              <a:gd name="connsiteY3" fmla="*/ 106940 h 1095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43066" h="1095453">
                <a:moveTo>
                  <a:pt x="119032" y="0"/>
                </a:moveTo>
                <a:lnTo>
                  <a:pt x="1843066" y="988931"/>
                </a:lnTo>
                <a:lnTo>
                  <a:pt x="1724500" y="1095453"/>
                </a:lnTo>
                <a:lnTo>
                  <a:pt x="0" y="1069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65A168CA-B471-4A80-B738-B6648B6098C4}"/>
              </a:ext>
            </a:extLst>
          </p:cNvPr>
          <p:cNvSpPr/>
          <p:nvPr/>
        </p:nvSpPr>
        <p:spPr>
          <a:xfrm>
            <a:off x="2011833" y="3467152"/>
            <a:ext cx="1843066" cy="1095453"/>
          </a:xfrm>
          <a:custGeom>
            <a:avLst/>
            <a:gdLst>
              <a:gd name="connsiteX0" fmla="*/ 119032 w 1843066"/>
              <a:gd name="connsiteY0" fmla="*/ 0 h 1095453"/>
              <a:gd name="connsiteX1" fmla="*/ 1843066 w 1843066"/>
              <a:gd name="connsiteY1" fmla="*/ 988931 h 1095453"/>
              <a:gd name="connsiteX2" fmla="*/ 1724500 w 1843066"/>
              <a:gd name="connsiteY2" fmla="*/ 1095453 h 1095453"/>
              <a:gd name="connsiteX3" fmla="*/ 0 w 1843066"/>
              <a:gd name="connsiteY3" fmla="*/ 106940 h 1095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43066" h="1095453">
                <a:moveTo>
                  <a:pt x="119032" y="0"/>
                </a:moveTo>
                <a:lnTo>
                  <a:pt x="1843066" y="988931"/>
                </a:lnTo>
                <a:lnTo>
                  <a:pt x="1724500" y="1095453"/>
                </a:lnTo>
                <a:lnTo>
                  <a:pt x="0" y="1069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47ADC26-DCBD-4BE3-BAB1-7735FC9D9E6C}"/>
              </a:ext>
            </a:extLst>
          </p:cNvPr>
          <p:cNvSpPr/>
          <p:nvPr/>
        </p:nvSpPr>
        <p:spPr>
          <a:xfrm>
            <a:off x="2241923" y="4466973"/>
            <a:ext cx="698611" cy="507396"/>
          </a:xfrm>
          <a:custGeom>
            <a:avLst/>
            <a:gdLst>
              <a:gd name="connsiteX0" fmla="*/ 119032 w 698611"/>
              <a:gd name="connsiteY0" fmla="*/ 0 h 507396"/>
              <a:gd name="connsiteX1" fmla="*/ 698611 w 698611"/>
              <a:gd name="connsiteY1" fmla="*/ 332455 h 507396"/>
              <a:gd name="connsiteX2" fmla="*/ 698611 w 698611"/>
              <a:gd name="connsiteY2" fmla="*/ 507396 h 507396"/>
              <a:gd name="connsiteX3" fmla="*/ 0 w 698611"/>
              <a:gd name="connsiteY3" fmla="*/ 106940 h 507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611" h="507396">
                <a:moveTo>
                  <a:pt x="119032" y="0"/>
                </a:moveTo>
                <a:lnTo>
                  <a:pt x="698611" y="332455"/>
                </a:lnTo>
                <a:lnTo>
                  <a:pt x="698611" y="507396"/>
                </a:lnTo>
                <a:lnTo>
                  <a:pt x="0" y="1069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202" name="Freeform: Shape 201">
            <a:extLst>
              <a:ext uri="{FF2B5EF4-FFF2-40B4-BE49-F238E27FC236}">
                <a16:creationId xmlns:a16="http://schemas.microsoft.com/office/drawing/2014/main" id="{C9A35227-909C-453C-BB89-5DCD41537B42}"/>
              </a:ext>
            </a:extLst>
          </p:cNvPr>
          <p:cNvSpPr/>
          <p:nvPr/>
        </p:nvSpPr>
        <p:spPr>
          <a:xfrm>
            <a:off x="3737110" y="4455694"/>
            <a:ext cx="117302" cy="1434685"/>
          </a:xfrm>
          <a:custGeom>
            <a:avLst/>
            <a:gdLst>
              <a:gd name="connsiteX0" fmla="*/ 117302 w 117302"/>
              <a:gd name="connsiteY0" fmla="*/ 0 h 1434685"/>
              <a:gd name="connsiteX1" fmla="*/ 117302 w 117302"/>
              <a:gd name="connsiteY1" fmla="*/ 106912 h 1434685"/>
              <a:gd name="connsiteX2" fmla="*/ 117302 w 117302"/>
              <a:gd name="connsiteY2" fmla="*/ 1233010 h 1434685"/>
              <a:gd name="connsiteX3" fmla="*/ 117302 w 117302"/>
              <a:gd name="connsiteY3" fmla="*/ 1329299 h 1434685"/>
              <a:gd name="connsiteX4" fmla="*/ 0 w 117302"/>
              <a:gd name="connsiteY4" fmla="*/ 1434685 h 1434685"/>
              <a:gd name="connsiteX5" fmla="*/ 0 w 117302"/>
              <a:gd name="connsiteY5" fmla="*/ 1338396 h 1434685"/>
              <a:gd name="connsiteX6" fmla="*/ 0 w 117302"/>
              <a:gd name="connsiteY6" fmla="*/ 212298 h 1434685"/>
              <a:gd name="connsiteX7" fmla="*/ 0 w 117302"/>
              <a:gd name="connsiteY7" fmla="*/ 105386 h 1434685"/>
              <a:gd name="connsiteX0" fmla="*/ 117302 w 117302"/>
              <a:gd name="connsiteY0" fmla="*/ 0 h 1434685"/>
              <a:gd name="connsiteX1" fmla="*/ 117302 w 117302"/>
              <a:gd name="connsiteY1" fmla="*/ 106912 h 1434685"/>
              <a:gd name="connsiteX2" fmla="*/ 117302 w 117302"/>
              <a:gd name="connsiteY2" fmla="*/ 1233010 h 1434685"/>
              <a:gd name="connsiteX3" fmla="*/ 117302 w 117302"/>
              <a:gd name="connsiteY3" fmla="*/ 1329299 h 1434685"/>
              <a:gd name="connsiteX4" fmla="*/ 0 w 117302"/>
              <a:gd name="connsiteY4" fmla="*/ 1434685 h 1434685"/>
              <a:gd name="connsiteX5" fmla="*/ 0 w 117302"/>
              <a:gd name="connsiteY5" fmla="*/ 212298 h 1434685"/>
              <a:gd name="connsiteX6" fmla="*/ 0 w 117302"/>
              <a:gd name="connsiteY6" fmla="*/ 105386 h 1434685"/>
              <a:gd name="connsiteX7" fmla="*/ 117302 w 117302"/>
              <a:gd name="connsiteY7" fmla="*/ 0 h 1434685"/>
              <a:gd name="connsiteX0" fmla="*/ 117302 w 117302"/>
              <a:gd name="connsiteY0" fmla="*/ 0 h 1434685"/>
              <a:gd name="connsiteX1" fmla="*/ 117302 w 117302"/>
              <a:gd name="connsiteY1" fmla="*/ 106912 h 1434685"/>
              <a:gd name="connsiteX2" fmla="*/ 117302 w 117302"/>
              <a:gd name="connsiteY2" fmla="*/ 1329299 h 1434685"/>
              <a:gd name="connsiteX3" fmla="*/ 0 w 117302"/>
              <a:gd name="connsiteY3" fmla="*/ 1434685 h 1434685"/>
              <a:gd name="connsiteX4" fmla="*/ 0 w 117302"/>
              <a:gd name="connsiteY4" fmla="*/ 212298 h 1434685"/>
              <a:gd name="connsiteX5" fmla="*/ 0 w 117302"/>
              <a:gd name="connsiteY5" fmla="*/ 105386 h 1434685"/>
              <a:gd name="connsiteX6" fmla="*/ 117302 w 117302"/>
              <a:gd name="connsiteY6" fmla="*/ 0 h 1434685"/>
              <a:gd name="connsiteX0" fmla="*/ 117302 w 117302"/>
              <a:gd name="connsiteY0" fmla="*/ 0 h 1434685"/>
              <a:gd name="connsiteX1" fmla="*/ 117302 w 117302"/>
              <a:gd name="connsiteY1" fmla="*/ 106912 h 1434685"/>
              <a:gd name="connsiteX2" fmla="*/ 117302 w 117302"/>
              <a:gd name="connsiteY2" fmla="*/ 1329299 h 1434685"/>
              <a:gd name="connsiteX3" fmla="*/ 0 w 117302"/>
              <a:gd name="connsiteY3" fmla="*/ 1434685 h 1434685"/>
              <a:gd name="connsiteX4" fmla="*/ 0 w 117302"/>
              <a:gd name="connsiteY4" fmla="*/ 105386 h 1434685"/>
              <a:gd name="connsiteX5" fmla="*/ 117302 w 117302"/>
              <a:gd name="connsiteY5" fmla="*/ 0 h 1434685"/>
              <a:gd name="connsiteX0" fmla="*/ 117302 w 117302"/>
              <a:gd name="connsiteY0" fmla="*/ 0 h 1434685"/>
              <a:gd name="connsiteX1" fmla="*/ 117302 w 117302"/>
              <a:gd name="connsiteY1" fmla="*/ 106912 h 1434685"/>
              <a:gd name="connsiteX2" fmla="*/ 117302 w 117302"/>
              <a:gd name="connsiteY2" fmla="*/ 1329299 h 1434685"/>
              <a:gd name="connsiteX3" fmla="*/ 0 w 117302"/>
              <a:gd name="connsiteY3" fmla="*/ 1434685 h 1434685"/>
              <a:gd name="connsiteX4" fmla="*/ 0 w 117302"/>
              <a:gd name="connsiteY4" fmla="*/ 105386 h 1434685"/>
              <a:gd name="connsiteX5" fmla="*/ 117302 w 117302"/>
              <a:gd name="connsiteY5" fmla="*/ 0 h 1434685"/>
              <a:gd name="connsiteX0" fmla="*/ 117302 w 117302"/>
              <a:gd name="connsiteY0" fmla="*/ 0 h 1434685"/>
              <a:gd name="connsiteX1" fmla="*/ 117302 w 117302"/>
              <a:gd name="connsiteY1" fmla="*/ 1329299 h 1434685"/>
              <a:gd name="connsiteX2" fmla="*/ 0 w 117302"/>
              <a:gd name="connsiteY2" fmla="*/ 1434685 h 1434685"/>
              <a:gd name="connsiteX3" fmla="*/ 0 w 117302"/>
              <a:gd name="connsiteY3" fmla="*/ 105386 h 1434685"/>
              <a:gd name="connsiteX4" fmla="*/ 117302 w 117302"/>
              <a:gd name="connsiteY4" fmla="*/ 0 h 1434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7302" h="1434685">
                <a:moveTo>
                  <a:pt x="117302" y="0"/>
                </a:moveTo>
                <a:lnTo>
                  <a:pt x="117302" y="1329299"/>
                </a:lnTo>
                <a:lnTo>
                  <a:pt x="0" y="1434685"/>
                </a:lnTo>
                <a:lnTo>
                  <a:pt x="0" y="105386"/>
                </a:lnTo>
                <a:lnTo>
                  <a:pt x="117302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661C4694-D792-4DDF-9FD3-16B30C2CEBF2}"/>
              </a:ext>
            </a:extLst>
          </p:cNvPr>
          <p:cNvSpPr/>
          <p:nvPr/>
        </p:nvSpPr>
        <p:spPr>
          <a:xfrm>
            <a:off x="2239632" y="3962624"/>
            <a:ext cx="117302" cy="613293"/>
          </a:xfrm>
          <a:custGeom>
            <a:avLst/>
            <a:gdLst>
              <a:gd name="connsiteX0" fmla="*/ 0 w 117302"/>
              <a:gd name="connsiteY0" fmla="*/ 0 h 613293"/>
              <a:gd name="connsiteX1" fmla="*/ 117302 w 117302"/>
              <a:gd name="connsiteY1" fmla="*/ 67844 h 613293"/>
              <a:gd name="connsiteX2" fmla="*/ 117302 w 117302"/>
              <a:gd name="connsiteY2" fmla="*/ 507907 h 613293"/>
              <a:gd name="connsiteX3" fmla="*/ 0 w 117302"/>
              <a:gd name="connsiteY3" fmla="*/ 613293 h 613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7302" h="613293">
                <a:moveTo>
                  <a:pt x="0" y="0"/>
                </a:moveTo>
                <a:lnTo>
                  <a:pt x="117302" y="67844"/>
                </a:lnTo>
                <a:lnTo>
                  <a:pt x="117302" y="507907"/>
                </a:lnTo>
                <a:lnTo>
                  <a:pt x="0" y="61329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AE6E51E-7D0C-4942-AF32-F6764357BD7C}"/>
              </a:ext>
            </a:extLst>
          </p:cNvPr>
          <p:cNvSpPr/>
          <p:nvPr/>
        </p:nvSpPr>
        <p:spPr>
          <a:xfrm>
            <a:off x="2272763" y="4017560"/>
            <a:ext cx="632167" cy="890552"/>
          </a:xfrm>
          <a:custGeom>
            <a:avLst/>
            <a:gdLst>
              <a:gd name="connsiteX0" fmla="*/ 0 w 632167"/>
              <a:gd name="connsiteY0" fmla="*/ 0 h 890552"/>
              <a:gd name="connsiteX1" fmla="*/ 632167 w 632167"/>
              <a:gd name="connsiteY1" fmla="*/ 362962 h 890552"/>
              <a:gd name="connsiteX2" fmla="*/ 632167 w 632167"/>
              <a:gd name="connsiteY2" fmla="*/ 890552 h 890552"/>
              <a:gd name="connsiteX3" fmla="*/ 0 w 632167"/>
              <a:gd name="connsiteY3" fmla="*/ 527590 h 890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2167" h="890552">
                <a:moveTo>
                  <a:pt x="0" y="0"/>
                </a:moveTo>
                <a:lnTo>
                  <a:pt x="632167" y="362962"/>
                </a:lnTo>
                <a:lnTo>
                  <a:pt x="632167" y="890552"/>
                </a:lnTo>
                <a:lnTo>
                  <a:pt x="0" y="527590"/>
                </a:lnTo>
                <a:close/>
              </a:path>
            </a:pathLst>
          </a:custGeom>
          <a:solidFill>
            <a:srgbClr val="AFEAFF">
              <a:alpha val="2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97047093-EC36-4943-B8AB-29547E5F7E76}"/>
              </a:ext>
            </a:extLst>
          </p:cNvPr>
          <p:cNvSpPr/>
          <p:nvPr/>
        </p:nvSpPr>
        <p:spPr>
          <a:xfrm>
            <a:off x="2242013" y="3967386"/>
            <a:ext cx="700903" cy="1006400"/>
          </a:xfrm>
          <a:custGeom>
            <a:avLst/>
            <a:gdLst>
              <a:gd name="connsiteX0" fmla="*/ 30654 w 700903"/>
              <a:gd name="connsiteY0" fmla="*/ 352851 h 1006400"/>
              <a:gd name="connsiteX1" fmla="*/ 30654 w 700903"/>
              <a:gd name="connsiteY1" fmla="*/ 576169 h 1006400"/>
              <a:gd name="connsiteX2" fmla="*/ 662821 w 700903"/>
              <a:gd name="connsiteY2" fmla="*/ 939131 h 1006400"/>
              <a:gd name="connsiteX3" fmla="*/ 662821 w 700903"/>
              <a:gd name="connsiteY3" fmla="*/ 715813 h 1006400"/>
              <a:gd name="connsiteX4" fmla="*/ 30654 w 700903"/>
              <a:gd name="connsiteY4" fmla="*/ 48579 h 1006400"/>
              <a:gd name="connsiteX5" fmla="*/ 30654 w 700903"/>
              <a:gd name="connsiteY5" fmla="*/ 321872 h 1006400"/>
              <a:gd name="connsiteX6" fmla="*/ 662821 w 700903"/>
              <a:gd name="connsiteY6" fmla="*/ 684834 h 1006400"/>
              <a:gd name="connsiteX7" fmla="*/ 662821 w 700903"/>
              <a:gd name="connsiteY7" fmla="*/ 411541 h 1006400"/>
              <a:gd name="connsiteX8" fmla="*/ 0 w 700903"/>
              <a:gd name="connsiteY8" fmla="*/ 0 h 1006400"/>
              <a:gd name="connsiteX9" fmla="*/ 700903 w 700903"/>
              <a:gd name="connsiteY9" fmla="*/ 402427 h 1006400"/>
              <a:gd name="connsiteX10" fmla="*/ 700903 w 700903"/>
              <a:gd name="connsiteY10" fmla="*/ 706699 h 1006400"/>
              <a:gd name="connsiteX11" fmla="*/ 700903 w 700903"/>
              <a:gd name="connsiteY11" fmla="*/ 1006400 h 1006400"/>
              <a:gd name="connsiteX12" fmla="*/ 0 w 700903"/>
              <a:gd name="connsiteY12" fmla="*/ 603972 h 1006400"/>
              <a:gd name="connsiteX13" fmla="*/ 0 w 700903"/>
              <a:gd name="connsiteY13" fmla="*/ 304272 h 10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00903" h="1006400">
                <a:moveTo>
                  <a:pt x="30654" y="352851"/>
                </a:moveTo>
                <a:lnTo>
                  <a:pt x="30654" y="576169"/>
                </a:lnTo>
                <a:lnTo>
                  <a:pt x="662821" y="939131"/>
                </a:lnTo>
                <a:lnTo>
                  <a:pt x="662821" y="715813"/>
                </a:lnTo>
                <a:close/>
                <a:moveTo>
                  <a:pt x="30654" y="48579"/>
                </a:moveTo>
                <a:lnTo>
                  <a:pt x="30654" y="321872"/>
                </a:lnTo>
                <a:lnTo>
                  <a:pt x="662821" y="684834"/>
                </a:lnTo>
                <a:lnTo>
                  <a:pt x="662821" y="411541"/>
                </a:lnTo>
                <a:close/>
                <a:moveTo>
                  <a:pt x="0" y="0"/>
                </a:moveTo>
                <a:lnTo>
                  <a:pt x="700903" y="402427"/>
                </a:lnTo>
                <a:lnTo>
                  <a:pt x="700903" y="706699"/>
                </a:lnTo>
                <a:lnTo>
                  <a:pt x="700903" y="1006400"/>
                </a:lnTo>
                <a:lnTo>
                  <a:pt x="0" y="603972"/>
                </a:lnTo>
                <a:lnTo>
                  <a:pt x="0" y="304272"/>
                </a:lnTo>
                <a:close/>
              </a:path>
            </a:pathLst>
          </a:custGeom>
          <a:solidFill>
            <a:srgbClr val="FFFF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04B420A-DD81-4E2C-80BA-9B8B2D1DAACC}"/>
              </a:ext>
            </a:extLst>
          </p:cNvPr>
          <p:cNvSpPr/>
          <p:nvPr/>
        </p:nvSpPr>
        <p:spPr>
          <a:xfrm>
            <a:off x="8472727" y="4012713"/>
            <a:ext cx="632167" cy="1154980"/>
          </a:xfrm>
          <a:custGeom>
            <a:avLst/>
            <a:gdLst>
              <a:gd name="connsiteX0" fmla="*/ 0 w 632167"/>
              <a:gd name="connsiteY0" fmla="*/ 0 h 1154980"/>
              <a:gd name="connsiteX1" fmla="*/ 632167 w 632167"/>
              <a:gd name="connsiteY1" fmla="*/ 362962 h 1154980"/>
              <a:gd name="connsiteX2" fmla="*/ 632167 w 632167"/>
              <a:gd name="connsiteY2" fmla="*/ 627390 h 1154980"/>
              <a:gd name="connsiteX3" fmla="*/ 632167 w 632167"/>
              <a:gd name="connsiteY3" fmla="*/ 890552 h 1154980"/>
              <a:gd name="connsiteX4" fmla="*/ 632167 w 632167"/>
              <a:gd name="connsiteY4" fmla="*/ 1154980 h 1154980"/>
              <a:gd name="connsiteX5" fmla="*/ 0 w 632167"/>
              <a:gd name="connsiteY5" fmla="*/ 792018 h 1154980"/>
              <a:gd name="connsiteX6" fmla="*/ 0 w 632167"/>
              <a:gd name="connsiteY6" fmla="*/ 527590 h 1154980"/>
              <a:gd name="connsiteX7" fmla="*/ 0 w 632167"/>
              <a:gd name="connsiteY7" fmla="*/ 264428 h 1154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2167" h="1154980">
                <a:moveTo>
                  <a:pt x="0" y="0"/>
                </a:moveTo>
                <a:lnTo>
                  <a:pt x="632167" y="362962"/>
                </a:lnTo>
                <a:lnTo>
                  <a:pt x="632167" y="627390"/>
                </a:lnTo>
                <a:lnTo>
                  <a:pt x="632167" y="890552"/>
                </a:lnTo>
                <a:lnTo>
                  <a:pt x="632167" y="1154980"/>
                </a:lnTo>
                <a:lnTo>
                  <a:pt x="0" y="792018"/>
                </a:lnTo>
                <a:lnTo>
                  <a:pt x="0" y="527590"/>
                </a:lnTo>
                <a:lnTo>
                  <a:pt x="0" y="264428"/>
                </a:lnTo>
                <a:close/>
              </a:path>
            </a:pathLst>
          </a:custGeom>
          <a:solidFill>
            <a:srgbClr val="AFEAFF">
              <a:alpha val="2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496E4215-25DD-4E6F-A765-EFB3C9120964}"/>
              </a:ext>
            </a:extLst>
          </p:cNvPr>
          <p:cNvSpPr/>
          <p:nvPr/>
        </p:nvSpPr>
        <p:spPr>
          <a:xfrm>
            <a:off x="8440741" y="3965005"/>
            <a:ext cx="700903" cy="1271815"/>
          </a:xfrm>
          <a:custGeom>
            <a:avLst/>
            <a:gdLst>
              <a:gd name="connsiteX0" fmla="*/ 30654 w 700903"/>
              <a:gd name="connsiteY0" fmla="*/ 622143 h 1271815"/>
              <a:gd name="connsiteX1" fmla="*/ 30654 w 700903"/>
              <a:gd name="connsiteY1" fmla="*/ 841014 h 1271815"/>
              <a:gd name="connsiteX2" fmla="*/ 662821 w 700903"/>
              <a:gd name="connsiteY2" fmla="*/ 1203976 h 1271815"/>
              <a:gd name="connsiteX3" fmla="*/ 662821 w 700903"/>
              <a:gd name="connsiteY3" fmla="*/ 985105 h 1271815"/>
              <a:gd name="connsiteX4" fmla="*/ 30654 w 700903"/>
              <a:gd name="connsiteY4" fmla="*/ 313424 h 1271815"/>
              <a:gd name="connsiteX5" fmla="*/ 30654 w 700903"/>
              <a:gd name="connsiteY5" fmla="*/ 576169 h 1271815"/>
              <a:gd name="connsiteX6" fmla="*/ 662821 w 700903"/>
              <a:gd name="connsiteY6" fmla="*/ 939131 h 1271815"/>
              <a:gd name="connsiteX7" fmla="*/ 662821 w 700903"/>
              <a:gd name="connsiteY7" fmla="*/ 676386 h 1271815"/>
              <a:gd name="connsiteX8" fmla="*/ 30654 w 700903"/>
              <a:gd name="connsiteY8" fmla="*/ 48579 h 1271815"/>
              <a:gd name="connsiteX9" fmla="*/ 30654 w 700903"/>
              <a:gd name="connsiteY9" fmla="*/ 282445 h 1271815"/>
              <a:gd name="connsiteX10" fmla="*/ 662821 w 700903"/>
              <a:gd name="connsiteY10" fmla="*/ 645407 h 1271815"/>
              <a:gd name="connsiteX11" fmla="*/ 662821 w 700903"/>
              <a:gd name="connsiteY11" fmla="*/ 411541 h 1271815"/>
              <a:gd name="connsiteX12" fmla="*/ 0 w 700903"/>
              <a:gd name="connsiteY12" fmla="*/ 0 h 1271815"/>
              <a:gd name="connsiteX13" fmla="*/ 700903 w 700903"/>
              <a:gd name="connsiteY13" fmla="*/ 402427 h 1271815"/>
              <a:gd name="connsiteX14" fmla="*/ 700903 w 700903"/>
              <a:gd name="connsiteY14" fmla="*/ 667272 h 1271815"/>
              <a:gd name="connsiteX15" fmla="*/ 700903 w 700903"/>
              <a:gd name="connsiteY15" fmla="*/ 1006970 h 1271815"/>
              <a:gd name="connsiteX16" fmla="*/ 700903 w 700903"/>
              <a:gd name="connsiteY16" fmla="*/ 1271815 h 1271815"/>
              <a:gd name="connsiteX17" fmla="*/ 0 w 700903"/>
              <a:gd name="connsiteY17" fmla="*/ 869388 h 1271815"/>
              <a:gd name="connsiteX18" fmla="*/ 0 w 700903"/>
              <a:gd name="connsiteY18" fmla="*/ 604543 h 1271815"/>
              <a:gd name="connsiteX19" fmla="*/ 0 w 700903"/>
              <a:gd name="connsiteY19" fmla="*/ 264845 h 1271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00903" h="1271815">
                <a:moveTo>
                  <a:pt x="30654" y="622143"/>
                </a:moveTo>
                <a:lnTo>
                  <a:pt x="30654" y="841014"/>
                </a:lnTo>
                <a:lnTo>
                  <a:pt x="662821" y="1203976"/>
                </a:lnTo>
                <a:lnTo>
                  <a:pt x="662821" y="985105"/>
                </a:lnTo>
                <a:close/>
                <a:moveTo>
                  <a:pt x="30654" y="313424"/>
                </a:moveTo>
                <a:lnTo>
                  <a:pt x="30654" y="576169"/>
                </a:lnTo>
                <a:lnTo>
                  <a:pt x="662821" y="939131"/>
                </a:lnTo>
                <a:lnTo>
                  <a:pt x="662821" y="676386"/>
                </a:lnTo>
                <a:close/>
                <a:moveTo>
                  <a:pt x="30654" y="48579"/>
                </a:moveTo>
                <a:lnTo>
                  <a:pt x="30654" y="282445"/>
                </a:lnTo>
                <a:lnTo>
                  <a:pt x="662821" y="645407"/>
                </a:lnTo>
                <a:lnTo>
                  <a:pt x="662821" y="411541"/>
                </a:lnTo>
                <a:close/>
                <a:moveTo>
                  <a:pt x="0" y="0"/>
                </a:moveTo>
                <a:lnTo>
                  <a:pt x="700903" y="402427"/>
                </a:lnTo>
                <a:lnTo>
                  <a:pt x="700903" y="667272"/>
                </a:lnTo>
                <a:lnTo>
                  <a:pt x="700903" y="1006970"/>
                </a:lnTo>
                <a:lnTo>
                  <a:pt x="700903" y="1271815"/>
                </a:lnTo>
                <a:lnTo>
                  <a:pt x="0" y="869388"/>
                </a:lnTo>
                <a:lnTo>
                  <a:pt x="0" y="604543"/>
                </a:lnTo>
                <a:lnTo>
                  <a:pt x="0" y="264845"/>
                </a:lnTo>
                <a:close/>
              </a:path>
            </a:pathLst>
          </a:custGeom>
          <a:solidFill>
            <a:srgbClr val="FFFF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A8DC7CA-6104-4C17-9D87-02D6427B333B}"/>
              </a:ext>
            </a:extLst>
          </p:cNvPr>
          <p:cNvGrpSpPr/>
          <p:nvPr/>
        </p:nvGrpSpPr>
        <p:grpSpPr>
          <a:xfrm>
            <a:off x="597247" y="3439707"/>
            <a:ext cx="950559" cy="953812"/>
            <a:chOff x="961286" y="2736017"/>
            <a:chExt cx="950559" cy="953812"/>
          </a:xfrm>
        </p:grpSpPr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17C1BC93-48FC-4A4C-921B-260AA293B7B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43" r="20016" b="19809"/>
            <a:stretch/>
          </p:blipFill>
          <p:spPr>
            <a:xfrm>
              <a:off x="961286" y="2739270"/>
              <a:ext cx="950559" cy="950559"/>
            </a:xfrm>
            <a:prstGeom prst="ellipse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7D7A309-FD9F-44BE-9397-F7F6A1D57CCB}"/>
                </a:ext>
              </a:extLst>
            </p:cNvPr>
            <p:cNvSpPr txBox="1"/>
            <p:nvPr/>
          </p:nvSpPr>
          <p:spPr>
            <a:xfrm>
              <a:off x="1119232" y="2736017"/>
              <a:ext cx="705669" cy="2239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800"/>
                <a:t>BR18 §258</a:t>
              </a:r>
            </a:p>
          </p:txBody>
        </p:sp>
      </p:grpSp>
      <p:sp>
        <p:nvSpPr>
          <p:cNvPr id="121" name="Arrow: Right 120">
            <a:extLst>
              <a:ext uri="{FF2B5EF4-FFF2-40B4-BE49-F238E27FC236}">
                <a16:creationId xmlns:a16="http://schemas.microsoft.com/office/drawing/2014/main" id="{12C36414-19DD-4CB7-BA01-F3245F7EC577}"/>
              </a:ext>
            </a:extLst>
          </p:cNvPr>
          <p:cNvSpPr/>
          <p:nvPr/>
        </p:nvSpPr>
        <p:spPr>
          <a:xfrm>
            <a:off x="5659546" y="4361309"/>
            <a:ext cx="558110" cy="224436"/>
          </a:xfrm>
          <a:prstGeom prst="rightArrow">
            <a:avLst>
              <a:gd name="adj1" fmla="val 43210"/>
              <a:gd name="adj2" fmla="val 77161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9" name="Freeform: Shape 128">
            <a:extLst>
              <a:ext uri="{FF2B5EF4-FFF2-40B4-BE49-F238E27FC236}">
                <a16:creationId xmlns:a16="http://schemas.microsoft.com/office/drawing/2014/main" id="{DEA2B475-4C9E-4DE0-9C19-73403C7505C4}"/>
              </a:ext>
            </a:extLst>
          </p:cNvPr>
          <p:cNvSpPr/>
          <p:nvPr/>
        </p:nvSpPr>
        <p:spPr>
          <a:xfrm>
            <a:off x="8440739" y="3961755"/>
            <a:ext cx="700903" cy="1280562"/>
          </a:xfrm>
          <a:custGeom>
            <a:avLst/>
            <a:gdLst>
              <a:gd name="connsiteX0" fmla="*/ 0 w 632167"/>
              <a:gd name="connsiteY0" fmla="*/ 0 h 1154980"/>
              <a:gd name="connsiteX1" fmla="*/ 632167 w 632167"/>
              <a:gd name="connsiteY1" fmla="*/ 362962 h 1154980"/>
              <a:gd name="connsiteX2" fmla="*/ 632167 w 632167"/>
              <a:gd name="connsiteY2" fmla="*/ 627390 h 1154980"/>
              <a:gd name="connsiteX3" fmla="*/ 632167 w 632167"/>
              <a:gd name="connsiteY3" fmla="*/ 890552 h 1154980"/>
              <a:gd name="connsiteX4" fmla="*/ 632167 w 632167"/>
              <a:gd name="connsiteY4" fmla="*/ 1154980 h 1154980"/>
              <a:gd name="connsiteX5" fmla="*/ 0 w 632167"/>
              <a:gd name="connsiteY5" fmla="*/ 792018 h 1154980"/>
              <a:gd name="connsiteX6" fmla="*/ 0 w 632167"/>
              <a:gd name="connsiteY6" fmla="*/ 527590 h 1154980"/>
              <a:gd name="connsiteX7" fmla="*/ 0 w 632167"/>
              <a:gd name="connsiteY7" fmla="*/ 264428 h 1154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2167" h="1154980">
                <a:moveTo>
                  <a:pt x="0" y="0"/>
                </a:moveTo>
                <a:lnTo>
                  <a:pt x="632167" y="362962"/>
                </a:lnTo>
                <a:lnTo>
                  <a:pt x="632167" y="627390"/>
                </a:lnTo>
                <a:lnTo>
                  <a:pt x="632167" y="890552"/>
                </a:lnTo>
                <a:lnTo>
                  <a:pt x="632167" y="1154980"/>
                </a:lnTo>
                <a:lnTo>
                  <a:pt x="0" y="792018"/>
                </a:lnTo>
                <a:lnTo>
                  <a:pt x="0" y="527590"/>
                </a:lnTo>
                <a:lnTo>
                  <a:pt x="0" y="264428"/>
                </a:lnTo>
                <a:close/>
              </a:path>
            </a:pathLst>
          </a:custGeom>
          <a:noFill/>
          <a:ln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D6C3A16D-BDB5-4A9C-9A9D-AB4A570C8DEB}"/>
              </a:ext>
            </a:extLst>
          </p:cNvPr>
          <p:cNvCxnSpPr>
            <a:cxnSpLocks/>
          </p:cNvCxnSpPr>
          <p:nvPr/>
        </p:nvCxnSpPr>
        <p:spPr>
          <a:xfrm flipV="1">
            <a:off x="8800015" y="5024577"/>
            <a:ext cx="0" cy="44768"/>
          </a:xfrm>
          <a:prstGeom prst="straightConnector1">
            <a:avLst/>
          </a:prstGeom>
          <a:ln>
            <a:solidFill>
              <a:srgbClr val="FF0000"/>
            </a:solidFill>
            <a:headEnd type="triangle" w="sm" len="lg"/>
            <a:tailEnd type="triangle" w="sm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365A7FDD-B377-4799-AC3D-3BF29875C15D}"/>
              </a:ext>
            </a:extLst>
          </p:cNvPr>
          <p:cNvGrpSpPr/>
          <p:nvPr/>
        </p:nvGrpSpPr>
        <p:grpSpPr>
          <a:xfrm>
            <a:off x="8109905" y="5258885"/>
            <a:ext cx="738655" cy="281895"/>
            <a:chOff x="8054402" y="4763772"/>
            <a:chExt cx="738655" cy="281895"/>
          </a:xfrm>
        </p:grpSpPr>
        <p:sp>
          <p:nvSpPr>
            <p:cNvPr id="132" name="Speech Bubble: Rectangle 131">
              <a:extLst>
                <a:ext uri="{FF2B5EF4-FFF2-40B4-BE49-F238E27FC236}">
                  <a16:creationId xmlns:a16="http://schemas.microsoft.com/office/drawing/2014/main" id="{D9A543FE-3EC3-41D3-84C3-92EA2AB8EF88}"/>
                </a:ext>
              </a:extLst>
            </p:cNvPr>
            <p:cNvSpPr/>
            <p:nvPr/>
          </p:nvSpPr>
          <p:spPr>
            <a:xfrm>
              <a:off x="8054402" y="4763772"/>
              <a:ext cx="738655" cy="281895"/>
            </a:xfrm>
            <a:prstGeom prst="wedgeRectCallout">
              <a:avLst>
                <a:gd name="adj1" fmla="val 43074"/>
                <a:gd name="adj2" fmla="val -114671"/>
              </a:avLst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800">
                  <a:solidFill>
                    <a:schemeClr val="bg1">
                      <a:lumMod val="50000"/>
                    </a:schemeClr>
                  </a:solidFill>
                </a:rPr>
                <a:t>Min 900</a:t>
              </a:r>
            </a:p>
          </p:txBody>
        </p:sp>
        <p:pic>
          <p:nvPicPr>
            <p:cNvPr id="139" name="Graphic 138" descr="Warning with solid fill">
              <a:extLst>
                <a:ext uri="{FF2B5EF4-FFF2-40B4-BE49-F238E27FC236}">
                  <a16:creationId xmlns:a16="http://schemas.microsoft.com/office/drawing/2014/main" id="{2730279F-193F-4F3F-8199-5F85FA51BA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575368" y="4793077"/>
              <a:ext cx="203625" cy="203625"/>
            </a:xfrm>
            <a:prstGeom prst="rect">
              <a:avLst/>
            </a:prstGeom>
          </p:spPr>
        </p:pic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BEDF70CB-C4D0-4CB1-B73E-2B7281D4DB9B}"/>
              </a:ext>
            </a:extLst>
          </p:cNvPr>
          <p:cNvGrpSpPr/>
          <p:nvPr/>
        </p:nvGrpSpPr>
        <p:grpSpPr>
          <a:xfrm>
            <a:off x="6766888" y="3433244"/>
            <a:ext cx="950559" cy="953812"/>
            <a:chOff x="961286" y="2736017"/>
            <a:chExt cx="950559" cy="953812"/>
          </a:xfrm>
        </p:grpSpPr>
        <p:pic>
          <p:nvPicPr>
            <p:cNvPr id="156" name="Picture 155">
              <a:extLst>
                <a:ext uri="{FF2B5EF4-FFF2-40B4-BE49-F238E27FC236}">
                  <a16:creationId xmlns:a16="http://schemas.microsoft.com/office/drawing/2014/main" id="{245A91DB-4DA2-4626-B590-BE45165788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43" r="20016" b="19809"/>
            <a:stretch/>
          </p:blipFill>
          <p:spPr>
            <a:xfrm>
              <a:off x="961286" y="2739270"/>
              <a:ext cx="950559" cy="950559"/>
            </a:xfrm>
            <a:prstGeom prst="ellipse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4D6EFA75-5490-4382-940B-626B02BEB198}"/>
                </a:ext>
              </a:extLst>
            </p:cNvPr>
            <p:cNvSpPr txBox="1"/>
            <p:nvPr/>
          </p:nvSpPr>
          <p:spPr>
            <a:xfrm>
              <a:off x="1119232" y="2736017"/>
              <a:ext cx="705669" cy="2239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800"/>
                <a:t>BR18 §258</a:t>
              </a:r>
            </a:p>
          </p:txBody>
        </p:sp>
      </p:grpSp>
      <p:cxnSp>
        <p:nvCxnSpPr>
          <p:cNvPr id="158" name="Connector: Elbow 52">
            <a:extLst>
              <a:ext uri="{FF2B5EF4-FFF2-40B4-BE49-F238E27FC236}">
                <a16:creationId xmlns:a16="http://schemas.microsoft.com/office/drawing/2014/main" id="{41D6C573-1EAA-4D38-84F1-9C56E1F8174D}"/>
              </a:ext>
            </a:extLst>
          </p:cNvPr>
          <p:cNvCxnSpPr>
            <a:cxnSpLocks/>
            <a:stCxn id="156" idx="5"/>
          </p:cNvCxnSpPr>
          <p:nvPr/>
        </p:nvCxnSpPr>
        <p:spPr>
          <a:xfrm rot="5400000" flipH="1" flipV="1">
            <a:off x="7946525" y="3749590"/>
            <a:ext cx="129975" cy="866545"/>
          </a:xfrm>
          <a:prstGeom prst="curvedConnector4">
            <a:avLst>
              <a:gd name="adj1" fmla="val -175880"/>
              <a:gd name="adj2" fmla="val 69087"/>
            </a:avLst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71" name="Freeform: Shape 170">
            <a:extLst>
              <a:ext uri="{FF2B5EF4-FFF2-40B4-BE49-F238E27FC236}">
                <a16:creationId xmlns:a16="http://schemas.microsoft.com/office/drawing/2014/main" id="{8BAC9562-D730-420C-93E2-97B5B1BC7AA8}"/>
              </a:ext>
            </a:extLst>
          </p:cNvPr>
          <p:cNvSpPr/>
          <p:nvPr/>
        </p:nvSpPr>
        <p:spPr>
          <a:xfrm>
            <a:off x="8538914" y="3285076"/>
            <a:ext cx="309646" cy="1089684"/>
          </a:xfrm>
          <a:custGeom>
            <a:avLst/>
            <a:gdLst>
              <a:gd name="connsiteX0" fmla="*/ 257175 w 281921"/>
              <a:gd name="connsiteY0" fmla="*/ 0 h 1053961"/>
              <a:gd name="connsiteX1" fmla="*/ 0 w 281921"/>
              <a:gd name="connsiteY1" fmla="*/ 400050 h 1053961"/>
              <a:gd name="connsiteX2" fmla="*/ 257175 w 281921"/>
              <a:gd name="connsiteY2" fmla="*/ 971550 h 1053961"/>
              <a:gd name="connsiteX3" fmla="*/ 257175 w 281921"/>
              <a:gd name="connsiteY3" fmla="*/ 1038225 h 1053961"/>
              <a:gd name="connsiteX0" fmla="*/ 257175 w 257175"/>
              <a:gd name="connsiteY0" fmla="*/ 0 h 971550"/>
              <a:gd name="connsiteX1" fmla="*/ 0 w 257175"/>
              <a:gd name="connsiteY1" fmla="*/ 400050 h 971550"/>
              <a:gd name="connsiteX2" fmla="*/ 257175 w 257175"/>
              <a:gd name="connsiteY2" fmla="*/ 971550 h 971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7175" h="971550">
                <a:moveTo>
                  <a:pt x="257175" y="0"/>
                </a:moveTo>
                <a:cubicBezTo>
                  <a:pt x="128587" y="119062"/>
                  <a:pt x="0" y="238125"/>
                  <a:pt x="0" y="400050"/>
                </a:cubicBezTo>
                <a:cubicBezTo>
                  <a:pt x="0" y="561975"/>
                  <a:pt x="214313" y="865188"/>
                  <a:pt x="257175" y="971550"/>
                </a:cubicBezTo>
              </a:path>
            </a:pathLst>
          </a:custGeom>
          <a:ln>
            <a:headEnd w="med" len="lg"/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E631343E-9BFD-423C-BEDF-6D7C74E97503}"/>
              </a:ext>
            </a:extLst>
          </p:cNvPr>
          <p:cNvSpPr/>
          <p:nvPr/>
        </p:nvSpPr>
        <p:spPr>
          <a:xfrm>
            <a:off x="2309841" y="6046978"/>
            <a:ext cx="914400" cy="2539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algn="ctr"/>
            <a:r>
              <a:rPr lang="da-DK" sz="1050">
                <a:solidFill>
                  <a:schemeClr val="tx1">
                    <a:lumMod val="50000"/>
                    <a:lumOff val="50000"/>
                  </a:schemeClr>
                </a:solidFill>
              </a:rPr>
              <a:t>Design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3D3D1F62-D942-4171-927F-A5FB19999E08}"/>
              </a:ext>
            </a:extLst>
          </p:cNvPr>
          <p:cNvSpPr/>
          <p:nvPr/>
        </p:nvSpPr>
        <p:spPr>
          <a:xfrm>
            <a:off x="5525775" y="6046978"/>
            <a:ext cx="914400" cy="2539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algn="ctr"/>
            <a:r>
              <a:rPr lang="da-DK" sz="1050">
                <a:solidFill>
                  <a:schemeClr val="tx1">
                    <a:lumMod val="50000"/>
                    <a:lumOff val="50000"/>
                  </a:schemeClr>
                </a:solidFill>
              </a:rPr>
              <a:t>Juster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D8C2A4BF-6DDB-4132-A702-39AF49ADA728}"/>
              </a:ext>
            </a:extLst>
          </p:cNvPr>
          <p:cNvSpPr/>
          <p:nvPr/>
        </p:nvSpPr>
        <p:spPr>
          <a:xfrm>
            <a:off x="9212332" y="6046978"/>
            <a:ext cx="914400" cy="2539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algn="ctr"/>
            <a:r>
              <a:rPr lang="da-DK" sz="1050">
                <a:solidFill>
                  <a:schemeClr val="tx1">
                    <a:lumMod val="50000"/>
                    <a:lumOff val="50000"/>
                  </a:schemeClr>
                </a:solidFill>
              </a:rPr>
              <a:t>Kontroller</a:t>
            </a:r>
          </a:p>
        </p:txBody>
      </p:sp>
      <p:sp>
        <p:nvSpPr>
          <p:cNvPr id="198" name="Freeform: Shape 197">
            <a:extLst>
              <a:ext uri="{FF2B5EF4-FFF2-40B4-BE49-F238E27FC236}">
                <a16:creationId xmlns:a16="http://schemas.microsoft.com/office/drawing/2014/main" id="{60BE3F79-D3B0-46FC-BE92-66A3EB2600E2}"/>
              </a:ext>
            </a:extLst>
          </p:cNvPr>
          <p:cNvSpPr/>
          <p:nvPr/>
        </p:nvSpPr>
        <p:spPr>
          <a:xfrm>
            <a:off x="2014391" y="3572515"/>
            <a:ext cx="1729151" cy="2314765"/>
          </a:xfrm>
          <a:custGeom>
            <a:avLst/>
            <a:gdLst>
              <a:gd name="connsiteX0" fmla="*/ 229533 w 1729151"/>
              <a:gd name="connsiteY0" fmla="*/ 391521 h 2314765"/>
              <a:gd name="connsiteX1" fmla="*/ 229533 w 1729151"/>
              <a:gd name="connsiteY1" fmla="*/ 999377 h 2314765"/>
              <a:gd name="connsiteX2" fmla="*/ 930191 w 1729151"/>
              <a:gd name="connsiteY2" fmla="*/ 1401664 h 2314765"/>
              <a:gd name="connsiteX3" fmla="*/ 930191 w 1729151"/>
              <a:gd name="connsiteY3" fmla="*/ 793809 h 2314765"/>
              <a:gd name="connsiteX4" fmla="*/ 877 w 1729151"/>
              <a:gd name="connsiteY4" fmla="*/ 0 h 2314765"/>
              <a:gd name="connsiteX5" fmla="*/ 1726772 w 1729151"/>
              <a:gd name="connsiteY5" fmla="*/ 990934 h 2314765"/>
              <a:gd name="connsiteX6" fmla="*/ 1726772 w 1729151"/>
              <a:gd name="connsiteY6" fmla="*/ 2126542 h 2314765"/>
              <a:gd name="connsiteX7" fmla="*/ 1729151 w 1729151"/>
              <a:gd name="connsiteY7" fmla="*/ 2127915 h 2314765"/>
              <a:gd name="connsiteX8" fmla="*/ 1729151 w 1729151"/>
              <a:gd name="connsiteY8" fmla="*/ 2314765 h 2314765"/>
              <a:gd name="connsiteX9" fmla="*/ 0 w 1729151"/>
              <a:gd name="connsiteY9" fmla="*/ 1316439 h 2314765"/>
              <a:gd name="connsiteX10" fmla="*/ 0 w 1729151"/>
              <a:gd name="connsiteY10" fmla="*/ 1129589 h 2314765"/>
              <a:gd name="connsiteX11" fmla="*/ 877 w 1729151"/>
              <a:gd name="connsiteY11" fmla="*/ 1130096 h 2314765"/>
              <a:gd name="connsiteX0" fmla="*/ 229533 w 1729151"/>
              <a:gd name="connsiteY0" fmla="*/ 391521 h 2314765"/>
              <a:gd name="connsiteX1" fmla="*/ 229533 w 1729151"/>
              <a:gd name="connsiteY1" fmla="*/ 999377 h 2314765"/>
              <a:gd name="connsiteX2" fmla="*/ 930191 w 1729151"/>
              <a:gd name="connsiteY2" fmla="*/ 1401664 h 2314765"/>
              <a:gd name="connsiteX3" fmla="*/ 930191 w 1729151"/>
              <a:gd name="connsiteY3" fmla="*/ 793809 h 2314765"/>
              <a:gd name="connsiteX4" fmla="*/ 229533 w 1729151"/>
              <a:gd name="connsiteY4" fmla="*/ 391521 h 2314765"/>
              <a:gd name="connsiteX5" fmla="*/ 877 w 1729151"/>
              <a:gd name="connsiteY5" fmla="*/ 0 h 2314765"/>
              <a:gd name="connsiteX6" fmla="*/ 1726772 w 1729151"/>
              <a:gd name="connsiteY6" fmla="*/ 990934 h 2314765"/>
              <a:gd name="connsiteX7" fmla="*/ 1726772 w 1729151"/>
              <a:gd name="connsiteY7" fmla="*/ 2126542 h 2314765"/>
              <a:gd name="connsiteX8" fmla="*/ 1729151 w 1729151"/>
              <a:gd name="connsiteY8" fmla="*/ 2314765 h 2314765"/>
              <a:gd name="connsiteX9" fmla="*/ 0 w 1729151"/>
              <a:gd name="connsiteY9" fmla="*/ 1316439 h 2314765"/>
              <a:gd name="connsiteX10" fmla="*/ 0 w 1729151"/>
              <a:gd name="connsiteY10" fmla="*/ 1129589 h 2314765"/>
              <a:gd name="connsiteX11" fmla="*/ 877 w 1729151"/>
              <a:gd name="connsiteY11" fmla="*/ 1130096 h 2314765"/>
              <a:gd name="connsiteX12" fmla="*/ 877 w 1729151"/>
              <a:gd name="connsiteY12" fmla="*/ 0 h 2314765"/>
              <a:gd name="connsiteX0" fmla="*/ 229533 w 1729151"/>
              <a:gd name="connsiteY0" fmla="*/ 391521 h 2314765"/>
              <a:gd name="connsiteX1" fmla="*/ 229533 w 1729151"/>
              <a:gd name="connsiteY1" fmla="*/ 999377 h 2314765"/>
              <a:gd name="connsiteX2" fmla="*/ 930191 w 1729151"/>
              <a:gd name="connsiteY2" fmla="*/ 1401664 h 2314765"/>
              <a:gd name="connsiteX3" fmla="*/ 930191 w 1729151"/>
              <a:gd name="connsiteY3" fmla="*/ 793809 h 2314765"/>
              <a:gd name="connsiteX4" fmla="*/ 229533 w 1729151"/>
              <a:gd name="connsiteY4" fmla="*/ 391521 h 2314765"/>
              <a:gd name="connsiteX5" fmla="*/ 877 w 1729151"/>
              <a:gd name="connsiteY5" fmla="*/ 0 h 2314765"/>
              <a:gd name="connsiteX6" fmla="*/ 1726772 w 1729151"/>
              <a:gd name="connsiteY6" fmla="*/ 990934 h 2314765"/>
              <a:gd name="connsiteX7" fmla="*/ 1729151 w 1729151"/>
              <a:gd name="connsiteY7" fmla="*/ 2314765 h 2314765"/>
              <a:gd name="connsiteX8" fmla="*/ 0 w 1729151"/>
              <a:gd name="connsiteY8" fmla="*/ 1316439 h 2314765"/>
              <a:gd name="connsiteX9" fmla="*/ 0 w 1729151"/>
              <a:gd name="connsiteY9" fmla="*/ 1129589 h 2314765"/>
              <a:gd name="connsiteX10" fmla="*/ 877 w 1729151"/>
              <a:gd name="connsiteY10" fmla="*/ 1130096 h 2314765"/>
              <a:gd name="connsiteX11" fmla="*/ 877 w 1729151"/>
              <a:gd name="connsiteY11" fmla="*/ 0 h 2314765"/>
              <a:gd name="connsiteX0" fmla="*/ 229533 w 1729151"/>
              <a:gd name="connsiteY0" fmla="*/ 391521 h 2314765"/>
              <a:gd name="connsiteX1" fmla="*/ 229533 w 1729151"/>
              <a:gd name="connsiteY1" fmla="*/ 999377 h 2314765"/>
              <a:gd name="connsiteX2" fmla="*/ 930191 w 1729151"/>
              <a:gd name="connsiteY2" fmla="*/ 1401664 h 2314765"/>
              <a:gd name="connsiteX3" fmla="*/ 930191 w 1729151"/>
              <a:gd name="connsiteY3" fmla="*/ 793809 h 2314765"/>
              <a:gd name="connsiteX4" fmla="*/ 229533 w 1729151"/>
              <a:gd name="connsiteY4" fmla="*/ 391521 h 2314765"/>
              <a:gd name="connsiteX5" fmla="*/ 877 w 1729151"/>
              <a:gd name="connsiteY5" fmla="*/ 0 h 2314765"/>
              <a:gd name="connsiteX6" fmla="*/ 1726772 w 1729151"/>
              <a:gd name="connsiteY6" fmla="*/ 990934 h 2314765"/>
              <a:gd name="connsiteX7" fmla="*/ 1729151 w 1729151"/>
              <a:gd name="connsiteY7" fmla="*/ 2314765 h 2314765"/>
              <a:gd name="connsiteX8" fmla="*/ 0 w 1729151"/>
              <a:gd name="connsiteY8" fmla="*/ 1316439 h 2314765"/>
              <a:gd name="connsiteX9" fmla="*/ 0 w 1729151"/>
              <a:gd name="connsiteY9" fmla="*/ 1129589 h 2314765"/>
              <a:gd name="connsiteX10" fmla="*/ 877 w 1729151"/>
              <a:gd name="connsiteY10" fmla="*/ 0 h 2314765"/>
              <a:gd name="connsiteX0" fmla="*/ 229533 w 1729151"/>
              <a:gd name="connsiteY0" fmla="*/ 391521 h 2314765"/>
              <a:gd name="connsiteX1" fmla="*/ 229533 w 1729151"/>
              <a:gd name="connsiteY1" fmla="*/ 999377 h 2314765"/>
              <a:gd name="connsiteX2" fmla="*/ 930191 w 1729151"/>
              <a:gd name="connsiteY2" fmla="*/ 1401664 h 2314765"/>
              <a:gd name="connsiteX3" fmla="*/ 930191 w 1729151"/>
              <a:gd name="connsiteY3" fmla="*/ 793809 h 2314765"/>
              <a:gd name="connsiteX4" fmla="*/ 229533 w 1729151"/>
              <a:gd name="connsiteY4" fmla="*/ 391521 h 2314765"/>
              <a:gd name="connsiteX5" fmla="*/ 877 w 1729151"/>
              <a:gd name="connsiteY5" fmla="*/ 0 h 2314765"/>
              <a:gd name="connsiteX6" fmla="*/ 1726772 w 1729151"/>
              <a:gd name="connsiteY6" fmla="*/ 990934 h 2314765"/>
              <a:gd name="connsiteX7" fmla="*/ 1729151 w 1729151"/>
              <a:gd name="connsiteY7" fmla="*/ 2314765 h 2314765"/>
              <a:gd name="connsiteX8" fmla="*/ 0 w 1729151"/>
              <a:gd name="connsiteY8" fmla="*/ 1316439 h 2314765"/>
              <a:gd name="connsiteX9" fmla="*/ 877 w 1729151"/>
              <a:gd name="connsiteY9" fmla="*/ 0 h 2314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29151" h="2314765">
                <a:moveTo>
                  <a:pt x="229533" y="391521"/>
                </a:moveTo>
                <a:lnTo>
                  <a:pt x="229533" y="999377"/>
                </a:lnTo>
                <a:lnTo>
                  <a:pt x="930191" y="1401664"/>
                </a:lnTo>
                <a:lnTo>
                  <a:pt x="930191" y="793809"/>
                </a:lnTo>
                <a:lnTo>
                  <a:pt x="229533" y="391521"/>
                </a:lnTo>
                <a:close/>
                <a:moveTo>
                  <a:pt x="877" y="0"/>
                </a:moveTo>
                <a:lnTo>
                  <a:pt x="1726772" y="990934"/>
                </a:lnTo>
                <a:lnTo>
                  <a:pt x="1729151" y="2314765"/>
                </a:lnTo>
                <a:lnTo>
                  <a:pt x="0" y="1316439"/>
                </a:lnTo>
                <a:cubicBezTo>
                  <a:pt x="292" y="877626"/>
                  <a:pt x="585" y="438813"/>
                  <a:pt x="87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cxnSp>
        <p:nvCxnSpPr>
          <p:cNvPr id="117" name="Connector: Elbow 52">
            <a:extLst>
              <a:ext uri="{FF2B5EF4-FFF2-40B4-BE49-F238E27FC236}">
                <a16:creationId xmlns:a16="http://schemas.microsoft.com/office/drawing/2014/main" id="{98079E15-B8A9-4831-A682-D1E8C84EDFC1}"/>
              </a:ext>
            </a:extLst>
          </p:cNvPr>
          <p:cNvCxnSpPr>
            <a:cxnSpLocks/>
            <a:stCxn id="43" idx="5"/>
          </p:cNvCxnSpPr>
          <p:nvPr/>
        </p:nvCxnSpPr>
        <p:spPr>
          <a:xfrm rot="5400000" flipH="1" flipV="1">
            <a:off x="1750631" y="3775844"/>
            <a:ext cx="136438" cy="820500"/>
          </a:xfrm>
          <a:prstGeom prst="curvedConnector4">
            <a:avLst>
              <a:gd name="adj1" fmla="val -186698"/>
              <a:gd name="adj2" fmla="val 71220"/>
            </a:avLst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73" name="Freeform: Shape 172">
            <a:extLst>
              <a:ext uri="{FF2B5EF4-FFF2-40B4-BE49-F238E27FC236}">
                <a16:creationId xmlns:a16="http://schemas.microsoft.com/office/drawing/2014/main" id="{5AF3C61D-99C0-4296-9964-6B5D07EA9649}"/>
              </a:ext>
            </a:extLst>
          </p:cNvPr>
          <p:cNvSpPr/>
          <p:nvPr/>
        </p:nvSpPr>
        <p:spPr>
          <a:xfrm>
            <a:off x="2267084" y="3285076"/>
            <a:ext cx="403766" cy="1076232"/>
          </a:xfrm>
          <a:custGeom>
            <a:avLst/>
            <a:gdLst>
              <a:gd name="connsiteX0" fmla="*/ 257175 w 281921"/>
              <a:gd name="connsiteY0" fmla="*/ 0 h 1053961"/>
              <a:gd name="connsiteX1" fmla="*/ 0 w 281921"/>
              <a:gd name="connsiteY1" fmla="*/ 400050 h 1053961"/>
              <a:gd name="connsiteX2" fmla="*/ 257175 w 281921"/>
              <a:gd name="connsiteY2" fmla="*/ 971550 h 1053961"/>
              <a:gd name="connsiteX3" fmla="*/ 257175 w 281921"/>
              <a:gd name="connsiteY3" fmla="*/ 1038225 h 1053961"/>
              <a:gd name="connsiteX0" fmla="*/ 257175 w 257175"/>
              <a:gd name="connsiteY0" fmla="*/ 0 h 971550"/>
              <a:gd name="connsiteX1" fmla="*/ 0 w 257175"/>
              <a:gd name="connsiteY1" fmla="*/ 400050 h 971550"/>
              <a:gd name="connsiteX2" fmla="*/ 257175 w 257175"/>
              <a:gd name="connsiteY2" fmla="*/ 971550 h 971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7175" h="971550">
                <a:moveTo>
                  <a:pt x="257175" y="0"/>
                </a:moveTo>
                <a:cubicBezTo>
                  <a:pt x="128587" y="119062"/>
                  <a:pt x="0" y="238125"/>
                  <a:pt x="0" y="400050"/>
                </a:cubicBezTo>
                <a:cubicBezTo>
                  <a:pt x="0" y="561975"/>
                  <a:pt x="214313" y="865188"/>
                  <a:pt x="257175" y="971550"/>
                </a:cubicBezTo>
              </a:path>
            </a:pathLst>
          </a:custGeom>
          <a:ln>
            <a:headEnd w="med" len="lg"/>
            <a:tailEnd type="triangle" w="med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74C0EE47-2A81-4939-B91C-3B386D97AB4E}"/>
              </a:ext>
            </a:extLst>
          </p:cNvPr>
          <p:cNvCxnSpPr>
            <a:cxnSpLocks/>
          </p:cNvCxnSpPr>
          <p:nvPr/>
        </p:nvCxnSpPr>
        <p:spPr>
          <a:xfrm flipV="1">
            <a:off x="2588846" y="4764003"/>
            <a:ext cx="0" cy="305341"/>
          </a:xfrm>
          <a:prstGeom prst="straightConnector1">
            <a:avLst/>
          </a:prstGeom>
          <a:ln>
            <a:solidFill>
              <a:srgbClr val="92D050"/>
            </a:solidFill>
            <a:headEnd type="triangle" w="sm" len="lg"/>
            <a:tailEnd type="triangle" w="sm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07" name="Freeform: Shape 206">
            <a:extLst>
              <a:ext uri="{FF2B5EF4-FFF2-40B4-BE49-F238E27FC236}">
                <a16:creationId xmlns:a16="http://schemas.microsoft.com/office/drawing/2014/main" id="{A643D8AE-4E22-4F27-951D-B9EB27414035}"/>
              </a:ext>
            </a:extLst>
          </p:cNvPr>
          <p:cNvSpPr/>
          <p:nvPr/>
        </p:nvSpPr>
        <p:spPr>
          <a:xfrm>
            <a:off x="9935838" y="4455693"/>
            <a:ext cx="117302" cy="1434628"/>
          </a:xfrm>
          <a:custGeom>
            <a:avLst/>
            <a:gdLst>
              <a:gd name="connsiteX0" fmla="*/ 117302 w 117302"/>
              <a:gd name="connsiteY0" fmla="*/ 0 h 1434628"/>
              <a:gd name="connsiteX1" fmla="*/ 117302 w 117302"/>
              <a:gd name="connsiteY1" fmla="*/ 96232 h 1434628"/>
              <a:gd name="connsiteX2" fmla="*/ 117302 w 117302"/>
              <a:gd name="connsiteY2" fmla="*/ 1233010 h 1434628"/>
              <a:gd name="connsiteX3" fmla="*/ 117302 w 117302"/>
              <a:gd name="connsiteY3" fmla="*/ 1329242 h 1434628"/>
              <a:gd name="connsiteX4" fmla="*/ 0 w 117302"/>
              <a:gd name="connsiteY4" fmla="*/ 1434628 h 1434628"/>
              <a:gd name="connsiteX5" fmla="*/ 0 w 117302"/>
              <a:gd name="connsiteY5" fmla="*/ 1338396 h 1434628"/>
              <a:gd name="connsiteX6" fmla="*/ 0 w 117302"/>
              <a:gd name="connsiteY6" fmla="*/ 201618 h 1434628"/>
              <a:gd name="connsiteX7" fmla="*/ 0 w 117302"/>
              <a:gd name="connsiteY7" fmla="*/ 105386 h 1434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302" h="1434628">
                <a:moveTo>
                  <a:pt x="117302" y="0"/>
                </a:moveTo>
                <a:lnTo>
                  <a:pt x="117302" y="96232"/>
                </a:lnTo>
                <a:lnTo>
                  <a:pt x="117302" y="1233010"/>
                </a:lnTo>
                <a:lnTo>
                  <a:pt x="117302" y="1329242"/>
                </a:lnTo>
                <a:lnTo>
                  <a:pt x="0" y="1434628"/>
                </a:lnTo>
                <a:lnTo>
                  <a:pt x="0" y="1338396"/>
                </a:lnTo>
                <a:lnTo>
                  <a:pt x="0" y="201618"/>
                </a:lnTo>
                <a:lnTo>
                  <a:pt x="0" y="1053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pic>
        <p:nvPicPr>
          <p:cNvPr id="172" name="Picture 171">
            <a:extLst>
              <a:ext uri="{FF2B5EF4-FFF2-40B4-BE49-F238E27FC236}">
                <a16:creationId xmlns:a16="http://schemas.microsoft.com/office/drawing/2014/main" id="{C2986E25-9A4F-4D2F-93CB-90EE9ED46B4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-77" t="4261" r="60861" b="9625"/>
          <a:stretch/>
        </p:blipFill>
        <p:spPr>
          <a:xfrm>
            <a:off x="2441262" y="2499980"/>
            <a:ext cx="956440" cy="956440"/>
          </a:xfrm>
          <a:prstGeom prst="ellipse">
            <a:avLst/>
          </a:prstGeom>
          <a:ln>
            <a:solidFill>
              <a:schemeClr val="accent6"/>
            </a:solidFill>
          </a:ln>
        </p:spPr>
      </p:pic>
      <p:grpSp>
        <p:nvGrpSpPr>
          <p:cNvPr id="184" name="Group 183">
            <a:extLst>
              <a:ext uri="{FF2B5EF4-FFF2-40B4-BE49-F238E27FC236}">
                <a16:creationId xmlns:a16="http://schemas.microsoft.com/office/drawing/2014/main" id="{C7FB74EA-0D90-4DB2-A73E-230194527B01}"/>
              </a:ext>
            </a:extLst>
          </p:cNvPr>
          <p:cNvGrpSpPr/>
          <p:nvPr/>
        </p:nvGrpSpPr>
        <p:grpSpPr>
          <a:xfrm>
            <a:off x="1948566" y="5238973"/>
            <a:ext cx="722284" cy="281895"/>
            <a:chOff x="1872045" y="4763772"/>
            <a:chExt cx="722284" cy="281895"/>
          </a:xfrm>
        </p:grpSpPr>
        <p:sp>
          <p:nvSpPr>
            <p:cNvPr id="40" name="Speech Bubble: Rectangle 39">
              <a:extLst>
                <a:ext uri="{FF2B5EF4-FFF2-40B4-BE49-F238E27FC236}">
                  <a16:creationId xmlns:a16="http://schemas.microsoft.com/office/drawing/2014/main" id="{417144C1-D324-401E-9E43-8F9CAF90C392}"/>
                </a:ext>
              </a:extLst>
            </p:cNvPr>
            <p:cNvSpPr/>
            <p:nvPr/>
          </p:nvSpPr>
          <p:spPr>
            <a:xfrm>
              <a:off x="1872045" y="4763772"/>
              <a:ext cx="722284" cy="281895"/>
            </a:xfrm>
            <a:prstGeom prst="wedgeRectCallout">
              <a:avLst>
                <a:gd name="adj1" fmla="val 37525"/>
                <a:gd name="adj2" fmla="val -103972"/>
              </a:avLst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800">
                  <a:solidFill>
                    <a:schemeClr val="bg1">
                      <a:lumMod val="50000"/>
                    </a:schemeClr>
                  </a:solidFill>
                </a:rPr>
                <a:t>Min 900</a:t>
              </a:r>
            </a:p>
          </p:txBody>
        </p: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E0D051DB-BC42-4FD6-870F-1D05404A100A}"/>
                </a:ext>
              </a:extLst>
            </p:cNvPr>
            <p:cNvGrpSpPr/>
            <p:nvPr/>
          </p:nvGrpSpPr>
          <p:grpSpPr>
            <a:xfrm>
              <a:off x="2380914" y="4815566"/>
              <a:ext cx="179198" cy="179198"/>
              <a:chOff x="4539555" y="4751566"/>
              <a:chExt cx="1377048" cy="1377048"/>
            </a:xfrm>
          </p:grpSpPr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6DD9D2BA-930F-40F3-B4A1-B788DCD47A70}"/>
                  </a:ext>
                </a:extLst>
              </p:cNvPr>
              <p:cNvSpPr/>
              <p:nvPr/>
            </p:nvSpPr>
            <p:spPr>
              <a:xfrm>
                <a:off x="4660757" y="4945963"/>
                <a:ext cx="988255" cy="98825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35" name="Graphic 134" descr="Badge Tick1 with solid fill">
                <a:extLst>
                  <a:ext uri="{FF2B5EF4-FFF2-40B4-BE49-F238E27FC236}">
                    <a16:creationId xmlns:a16="http://schemas.microsoft.com/office/drawing/2014/main" id="{76D2D29C-7AAB-4E60-80C8-DBFBBBCA73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539555" y="4751566"/>
                <a:ext cx="1377048" cy="1377048"/>
              </a:xfrm>
              <a:prstGeom prst="rect">
                <a:avLst/>
              </a:prstGeom>
            </p:spPr>
          </p:pic>
        </p:grpSp>
      </p:grpSp>
      <p:pic>
        <p:nvPicPr>
          <p:cNvPr id="159" name="Picture 158">
            <a:extLst>
              <a:ext uri="{FF2B5EF4-FFF2-40B4-BE49-F238E27FC236}">
                <a16:creationId xmlns:a16="http://schemas.microsoft.com/office/drawing/2014/main" id="{B2CEBD2C-E931-4418-8A7F-B4C0E9E8EBF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-77" t="4261" r="60861" b="9625"/>
          <a:stretch/>
        </p:blipFill>
        <p:spPr>
          <a:xfrm>
            <a:off x="8713092" y="2499980"/>
            <a:ext cx="956440" cy="956440"/>
          </a:xfrm>
          <a:prstGeom prst="ellipse">
            <a:avLst/>
          </a:prstGeom>
          <a:ln>
            <a:solidFill>
              <a:schemeClr val="accent6"/>
            </a:solidFill>
          </a:ln>
        </p:spPr>
      </p:pic>
      <p:grpSp>
        <p:nvGrpSpPr>
          <p:cNvPr id="261" name="Group 260">
            <a:extLst>
              <a:ext uri="{FF2B5EF4-FFF2-40B4-BE49-F238E27FC236}">
                <a16:creationId xmlns:a16="http://schemas.microsoft.com/office/drawing/2014/main" id="{4D2DF183-8744-4D97-B2A1-2686B089938E}"/>
              </a:ext>
            </a:extLst>
          </p:cNvPr>
          <p:cNvGrpSpPr/>
          <p:nvPr/>
        </p:nvGrpSpPr>
        <p:grpSpPr>
          <a:xfrm>
            <a:off x="2305050" y="2699066"/>
            <a:ext cx="209131" cy="209131"/>
            <a:chOff x="1283497" y="1711570"/>
            <a:chExt cx="933446" cy="933446"/>
          </a:xfrm>
        </p:grpSpPr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76BAB924-9F35-4009-AADB-F40812AEE0A1}"/>
                </a:ext>
              </a:extLst>
            </p:cNvPr>
            <p:cNvSpPr/>
            <p:nvPr/>
          </p:nvSpPr>
          <p:spPr>
            <a:xfrm>
              <a:off x="1612564" y="1785938"/>
              <a:ext cx="261479" cy="71688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18CF0E9E-AB40-4C3E-AE16-DC3ED7DBEFE9}"/>
                </a:ext>
              </a:extLst>
            </p:cNvPr>
            <p:cNvSpPr/>
            <p:nvPr/>
          </p:nvSpPr>
          <p:spPr>
            <a:xfrm>
              <a:off x="1283497" y="1711570"/>
              <a:ext cx="933446" cy="933446"/>
            </a:xfrm>
            <a:custGeom>
              <a:avLst/>
              <a:gdLst>
                <a:gd name="connsiteX0" fmla="*/ 432618 w 933446"/>
                <a:gd name="connsiteY0" fmla="*/ 357945 h 933446"/>
                <a:gd name="connsiteX1" fmla="*/ 387858 w 933446"/>
                <a:gd name="connsiteY1" fmla="*/ 402705 h 933446"/>
                <a:gd name="connsiteX2" fmla="*/ 387858 w 933446"/>
                <a:gd name="connsiteY2" fmla="*/ 705807 h 933446"/>
                <a:gd name="connsiteX3" fmla="*/ 432618 w 933446"/>
                <a:gd name="connsiteY3" fmla="*/ 750567 h 933446"/>
                <a:gd name="connsiteX4" fmla="*/ 500827 w 933446"/>
                <a:gd name="connsiteY4" fmla="*/ 750567 h 933446"/>
                <a:gd name="connsiteX5" fmla="*/ 545587 w 933446"/>
                <a:gd name="connsiteY5" fmla="*/ 705807 h 933446"/>
                <a:gd name="connsiteX6" fmla="*/ 545587 w 933446"/>
                <a:gd name="connsiteY6" fmla="*/ 402705 h 933446"/>
                <a:gd name="connsiteX7" fmla="*/ 500827 w 933446"/>
                <a:gd name="connsiteY7" fmla="*/ 357945 h 933446"/>
                <a:gd name="connsiteX8" fmla="*/ 466723 w 933446"/>
                <a:gd name="connsiteY8" fmla="*/ 92297 h 933446"/>
                <a:gd name="connsiteX9" fmla="*/ 386460 w 933446"/>
                <a:gd name="connsiteY9" fmla="*/ 172560 h 933446"/>
                <a:gd name="connsiteX10" fmla="*/ 466723 w 933446"/>
                <a:gd name="connsiteY10" fmla="*/ 252823 h 933446"/>
                <a:gd name="connsiteX11" fmla="*/ 546986 w 933446"/>
                <a:gd name="connsiteY11" fmla="*/ 172560 h 933446"/>
                <a:gd name="connsiteX12" fmla="*/ 466723 w 933446"/>
                <a:gd name="connsiteY12" fmla="*/ 92297 h 933446"/>
                <a:gd name="connsiteX13" fmla="*/ 466723 w 933446"/>
                <a:gd name="connsiteY13" fmla="*/ 0 h 933446"/>
                <a:gd name="connsiteX14" fmla="*/ 933446 w 933446"/>
                <a:gd name="connsiteY14" fmla="*/ 466723 h 933446"/>
                <a:gd name="connsiteX15" fmla="*/ 466723 w 933446"/>
                <a:gd name="connsiteY15" fmla="*/ 933446 h 933446"/>
                <a:gd name="connsiteX16" fmla="*/ 0 w 933446"/>
                <a:gd name="connsiteY16" fmla="*/ 466723 h 933446"/>
                <a:gd name="connsiteX17" fmla="*/ 466723 w 933446"/>
                <a:gd name="connsiteY17" fmla="*/ 0 h 933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33446" h="933446">
                  <a:moveTo>
                    <a:pt x="432618" y="357945"/>
                  </a:moveTo>
                  <a:cubicBezTo>
                    <a:pt x="407898" y="357945"/>
                    <a:pt x="387858" y="377985"/>
                    <a:pt x="387858" y="402705"/>
                  </a:cubicBezTo>
                  <a:lnTo>
                    <a:pt x="387858" y="705807"/>
                  </a:lnTo>
                  <a:cubicBezTo>
                    <a:pt x="387858" y="730527"/>
                    <a:pt x="407898" y="750567"/>
                    <a:pt x="432618" y="750567"/>
                  </a:cubicBezTo>
                  <a:lnTo>
                    <a:pt x="500827" y="750567"/>
                  </a:lnTo>
                  <a:cubicBezTo>
                    <a:pt x="525547" y="750567"/>
                    <a:pt x="545587" y="730527"/>
                    <a:pt x="545587" y="705807"/>
                  </a:cubicBezTo>
                  <a:lnTo>
                    <a:pt x="545587" y="402705"/>
                  </a:lnTo>
                  <a:cubicBezTo>
                    <a:pt x="545587" y="377985"/>
                    <a:pt x="525547" y="357945"/>
                    <a:pt x="500827" y="357945"/>
                  </a:cubicBezTo>
                  <a:close/>
                  <a:moveTo>
                    <a:pt x="466723" y="92297"/>
                  </a:moveTo>
                  <a:cubicBezTo>
                    <a:pt x="422395" y="92297"/>
                    <a:pt x="386460" y="128232"/>
                    <a:pt x="386460" y="172560"/>
                  </a:cubicBezTo>
                  <a:cubicBezTo>
                    <a:pt x="386460" y="216888"/>
                    <a:pt x="422395" y="252823"/>
                    <a:pt x="466723" y="252823"/>
                  </a:cubicBezTo>
                  <a:cubicBezTo>
                    <a:pt x="511051" y="252823"/>
                    <a:pt x="546986" y="216888"/>
                    <a:pt x="546986" y="172560"/>
                  </a:cubicBezTo>
                  <a:cubicBezTo>
                    <a:pt x="546986" y="128232"/>
                    <a:pt x="511051" y="92297"/>
                    <a:pt x="466723" y="92297"/>
                  </a:cubicBezTo>
                  <a:close/>
                  <a:moveTo>
                    <a:pt x="466723" y="0"/>
                  </a:moveTo>
                  <a:cubicBezTo>
                    <a:pt x="724487" y="0"/>
                    <a:pt x="933446" y="208959"/>
                    <a:pt x="933446" y="466723"/>
                  </a:cubicBezTo>
                  <a:cubicBezTo>
                    <a:pt x="933446" y="724487"/>
                    <a:pt x="724487" y="933446"/>
                    <a:pt x="466723" y="933446"/>
                  </a:cubicBezTo>
                  <a:cubicBezTo>
                    <a:pt x="208959" y="933446"/>
                    <a:pt x="0" y="724487"/>
                    <a:pt x="0" y="466723"/>
                  </a:cubicBezTo>
                  <a:cubicBezTo>
                    <a:pt x="0" y="208959"/>
                    <a:pt x="208959" y="0"/>
                    <a:pt x="466723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/>
            </a:p>
          </p:txBody>
        </p:sp>
      </p:grpSp>
      <p:grpSp>
        <p:nvGrpSpPr>
          <p:cNvPr id="265" name="Group 264">
            <a:extLst>
              <a:ext uri="{FF2B5EF4-FFF2-40B4-BE49-F238E27FC236}">
                <a16:creationId xmlns:a16="http://schemas.microsoft.com/office/drawing/2014/main" id="{D46D0AFF-9500-4C7E-B83D-9BFB3FCB9138}"/>
              </a:ext>
            </a:extLst>
          </p:cNvPr>
          <p:cNvGrpSpPr/>
          <p:nvPr/>
        </p:nvGrpSpPr>
        <p:grpSpPr>
          <a:xfrm>
            <a:off x="8579679" y="2699066"/>
            <a:ext cx="209131" cy="209131"/>
            <a:chOff x="1283497" y="1711570"/>
            <a:chExt cx="933446" cy="933446"/>
          </a:xfrm>
        </p:grpSpPr>
        <p:sp>
          <p:nvSpPr>
            <p:cNvPr id="266" name="Rectangle 265">
              <a:extLst>
                <a:ext uri="{FF2B5EF4-FFF2-40B4-BE49-F238E27FC236}">
                  <a16:creationId xmlns:a16="http://schemas.microsoft.com/office/drawing/2014/main" id="{FEE97ADE-BFB7-4D90-B496-36F947E58441}"/>
                </a:ext>
              </a:extLst>
            </p:cNvPr>
            <p:cNvSpPr/>
            <p:nvPr/>
          </p:nvSpPr>
          <p:spPr>
            <a:xfrm>
              <a:off x="1612564" y="1785938"/>
              <a:ext cx="261479" cy="71688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03750C3E-D069-4ACC-9876-5B6DCD77BB10}"/>
                </a:ext>
              </a:extLst>
            </p:cNvPr>
            <p:cNvSpPr/>
            <p:nvPr/>
          </p:nvSpPr>
          <p:spPr>
            <a:xfrm>
              <a:off x="1283497" y="1711570"/>
              <a:ext cx="933446" cy="933446"/>
            </a:xfrm>
            <a:custGeom>
              <a:avLst/>
              <a:gdLst>
                <a:gd name="connsiteX0" fmla="*/ 432618 w 933446"/>
                <a:gd name="connsiteY0" fmla="*/ 357945 h 933446"/>
                <a:gd name="connsiteX1" fmla="*/ 387858 w 933446"/>
                <a:gd name="connsiteY1" fmla="*/ 402705 h 933446"/>
                <a:gd name="connsiteX2" fmla="*/ 387858 w 933446"/>
                <a:gd name="connsiteY2" fmla="*/ 705807 h 933446"/>
                <a:gd name="connsiteX3" fmla="*/ 432618 w 933446"/>
                <a:gd name="connsiteY3" fmla="*/ 750567 h 933446"/>
                <a:gd name="connsiteX4" fmla="*/ 500827 w 933446"/>
                <a:gd name="connsiteY4" fmla="*/ 750567 h 933446"/>
                <a:gd name="connsiteX5" fmla="*/ 545587 w 933446"/>
                <a:gd name="connsiteY5" fmla="*/ 705807 h 933446"/>
                <a:gd name="connsiteX6" fmla="*/ 545587 w 933446"/>
                <a:gd name="connsiteY6" fmla="*/ 402705 h 933446"/>
                <a:gd name="connsiteX7" fmla="*/ 500827 w 933446"/>
                <a:gd name="connsiteY7" fmla="*/ 357945 h 933446"/>
                <a:gd name="connsiteX8" fmla="*/ 466723 w 933446"/>
                <a:gd name="connsiteY8" fmla="*/ 92297 h 933446"/>
                <a:gd name="connsiteX9" fmla="*/ 386460 w 933446"/>
                <a:gd name="connsiteY9" fmla="*/ 172560 h 933446"/>
                <a:gd name="connsiteX10" fmla="*/ 466723 w 933446"/>
                <a:gd name="connsiteY10" fmla="*/ 252823 h 933446"/>
                <a:gd name="connsiteX11" fmla="*/ 546986 w 933446"/>
                <a:gd name="connsiteY11" fmla="*/ 172560 h 933446"/>
                <a:gd name="connsiteX12" fmla="*/ 466723 w 933446"/>
                <a:gd name="connsiteY12" fmla="*/ 92297 h 933446"/>
                <a:gd name="connsiteX13" fmla="*/ 466723 w 933446"/>
                <a:gd name="connsiteY13" fmla="*/ 0 h 933446"/>
                <a:gd name="connsiteX14" fmla="*/ 933446 w 933446"/>
                <a:gd name="connsiteY14" fmla="*/ 466723 h 933446"/>
                <a:gd name="connsiteX15" fmla="*/ 466723 w 933446"/>
                <a:gd name="connsiteY15" fmla="*/ 933446 h 933446"/>
                <a:gd name="connsiteX16" fmla="*/ 0 w 933446"/>
                <a:gd name="connsiteY16" fmla="*/ 466723 h 933446"/>
                <a:gd name="connsiteX17" fmla="*/ 466723 w 933446"/>
                <a:gd name="connsiteY17" fmla="*/ 0 h 933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33446" h="933446">
                  <a:moveTo>
                    <a:pt x="432618" y="357945"/>
                  </a:moveTo>
                  <a:cubicBezTo>
                    <a:pt x="407898" y="357945"/>
                    <a:pt x="387858" y="377985"/>
                    <a:pt x="387858" y="402705"/>
                  </a:cubicBezTo>
                  <a:lnTo>
                    <a:pt x="387858" y="705807"/>
                  </a:lnTo>
                  <a:cubicBezTo>
                    <a:pt x="387858" y="730527"/>
                    <a:pt x="407898" y="750567"/>
                    <a:pt x="432618" y="750567"/>
                  </a:cubicBezTo>
                  <a:lnTo>
                    <a:pt x="500827" y="750567"/>
                  </a:lnTo>
                  <a:cubicBezTo>
                    <a:pt x="525547" y="750567"/>
                    <a:pt x="545587" y="730527"/>
                    <a:pt x="545587" y="705807"/>
                  </a:cubicBezTo>
                  <a:lnTo>
                    <a:pt x="545587" y="402705"/>
                  </a:lnTo>
                  <a:cubicBezTo>
                    <a:pt x="545587" y="377985"/>
                    <a:pt x="525547" y="357945"/>
                    <a:pt x="500827" y="357945"/>
                  </a:cubicBezTo>
                  <a:close/>
                  <a:moveTo>
                    <a:pt x="466723" y="92297"/>
                  </a:moveTo>
                  <a:cubicBezTo>
                    <a:pt x="422395" y="92297"/>
                    <a:pt x="386460" y="128232"/>
                    <a:pt x="386460" y="172560"/>
                  </a:cubicBezTo>
                  <a:cubicBezTo>
                    <a:pt x="386460" y="216888"/>
                    <a:pt x="422395" y="252823"/>
                    <a:pt x="466723" y="252823"/>
                  </a:cubicBezTo>
                  <a:cubicBezTo>
                    <a:pt x="511051" y="252823"/>
                    <a:pt x="546986" y="216888"/>
                    <a:pt x="546986" y="172560"/>
                  </a:cubicBezTo>
                  <a:cubicBezTo>
                    <a:pt x="546986" y="128232"/>
                    <a:pt x="511051" y="92297"/>
                    <a:pt x="466723" y="92297"/>
                  </a:cubicBezTo>
                  <a:close/>
                  <a:moveTo>
                    <a:pt x="466723" y="0"/>
                  </a:moveTo>
                  <a:cubicBezTo>
                    <a:pt x="724487" y="0"/>
                    <a:pt x="933446" y="208959"/>
                    <a:pt x="933446" y="466723"/>
                  </a:cubicBezTo>
                  <a:cubicBezTo>
                    <a:pt x="933446" y="724487"/>
                    <a:pt x="724487" y="933446"/>
                    <a:pt x="466723" y="933446"/>
                  </a:cubicBezTo>
                  <a:cubicBezTo>
                    <a:pt x="208959" y="933446"/>
                    <a:pt x="0" y="724487"/>
                    <a:pt x="0" y="466723"/>
                  </a:cubicBezTo>
                  <a:cubicBezTo>
                    <a:pt x="0" y="208959"/>
                    <a:pt x="208959" y="0"/>
                    <a:pt x="466723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BFACF1D-15A1-4EB8-B21B-A767430DD36F}"/>
              </a:ext>
            </a:extLst>
          </p:cNvPr>
          <p:cNvGrpSpPr/>
          <p:nvPr/>
        </p:nvGrpSpPr>
        <p:grpSpPr>
          <a:xfrm>
            <a:off x="9377630" y="4595191"/>
            <a:ext cx="874565" cy="313942"/>
            <a:chOff x="9377630" y="5144894"/>
            <a:chExt cx="874565" cy="313942"/>
          </a:xfrm>
        </p:grpSpPr>
        <p:sp>
          <p:nvSpPr>
            <p:cNvPr id="271" name="Speech Bubble: Rectangle 270">
              <a:extLst>
                <a:ext uri="{FF2B5EF4-FFF2-40B4-BE49-F238E27FC236}">
                  <a16:creationId xmlns:a16="http://schemas.microsoft.com/office/drawing/2014/main" id="{7B96C696-72EB-4B4B-9086-4ECE67FA17AA}"/>
                </a:ext>
              </a:extLst>
            </p:cNvPr>
            <p:cNvSpPr/>
            <p:nvPr/>
          </p:nvSpPr>
          <p:spPr>
            <a:xfrm>
              <a:off x="9377630" y="5144894"/>
              <a:ext cx="874565" cy="313942"/>
            </a:xfrm>
            <a:prstGeom prst="wedgeRectCallout">
              <a:avLst>
                <a:gd name="adj1" fmla="val -85301"/>
                <a:gd name="adj2" fmla="val -5882"/>
              </a:avLst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800">
                  <a:solidFill>
                    <a:schemeClr val="bg1">
                      <a:lumMod val="50000"/>
                    </a:schemeClr>
                  </a:solidFill>
                </a:rPr>
                <a:t>Geometri ændret</a:t>
              </a:r>
            </a:p>
          </p:txBody>
        </p:sp>
        <p:grpSp>
          <p:nvGrpSpPr>
            <p:cNvPr id="273" name="Group 272">
              <a:extLst>
                <a:ext uri="{FF2B5EF4-FFF2-40B4-BE49-F238E27FC236}">
                  <a16:creationId xmlns:a16="http://schemas.microsoft.com/office/drawing/2014/main" id="{B8D9C98C-E129-4E7D-910A-85BC55CCAF5D}"/>
                </a:ext>
              </a:extLst>
            </p:cNvPr>
            <p:cNvGrpSpPr/>
            <p:nvPr/>
          </p:nvGrpSpPr>
          <p:grpSpPr>
            <a:xfrm>
              <a:off x="9993380" y="5226173"/>
              <a:ext cx="255402" cy="162184"/>
              <a:chOff x="7967678" y="3543658"/>
              <a:chExt cx="1798248" cy="1141915"/>
            </a:xfrm>
          </p:grpSpPr>
          <p:sp>
            <p:nvSpPr>
              <p:cNvPr id="274" name="Freeform: Shape 273" descr="Ringer with solid fill">
                <a:extLst>
                  <a:ext uri="{FF2B5EF4-FFF2-40B4-BE49-F238E27FC236}">
                    <a16:creationId xmlns:a16="http://schemas.microsoft.com/office/drawing/2014/main" id="{DEF6CD3C-9DD0-4ED7-9144-91A022227C3B}"/>
                  </a:ext>
                </a:extLst>
              </p:cNvPr>
              <p:cNvSpPr/>
              <p:nvPr/>
            </p:nvSpPr>
            <p:spPr>
              <a:xfrm>
                <a:off x="8750069" y="4572002"/>
                <a:ext cx="255569" cy="113571"/>
              </a:xfrm>
              <a:custGeom>
                <a:avLst/>
                <a:gdLst>
                  <a:gd name="connsiteX0" fmla="*/ 0 w 255569"/>
                  <a:gd name="connsiteY0" fmla="*/ 0 h 113571"/>
                  <a:gd name="connsiteX1" fmla="*/ 255569 w 255569"/>
                  <a:gd name="connsiteY1" fmla="*/ 0 h 113571"/>
                  <a:gd name="connsiteX2" fmla="*/ 244124 w 255569"/>
                  <a:gd name="connsiteY2" fmla="*/ 40463 h 113571"/>
                  <a:gd name="connsiteX3" fmla="*/ 141037 w 255569"/>
                  <a:gd name="connsiteY3" fmla="*/ 112876 h 113571"/>
                  <a:gd name="connsiteX4" fmla="*/ 14548 w 255569"/>
                  <a:gd name="connsiteY4" fmla="*/ 46654 h 113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5569" h="113571">
                    <a:moveTo>
                      <a:pt x="0" y="0"/>
                    </a:moveTo>
                    <a:lnTo>
                      <a:pt x="255569" y="0"/>
                    </a:lnTo>
                    <a:lnTo>
                      <a:pt x="244124" y="40463"/>
                    </a:lnTo>
                    <a:cubicBezTo>
                      <a:pt x="225098" y="79937"/>
                      <a:pt x="186652" y="108159"/>
                      <a:pt x="141037" y="112876"/>
                    </a:cubicBezTo>
                    <a:cubicBezTo>
                      <a:pt x="87823" y="118379"/>
                      <a:pt x="38819" y="90747"/>
                      <a:pt x="14548" y="46654"/>
                    </a:cubicBezTo>
                    <a:close/>
                  </a:path>
                </a:pathLst>
              </a:custGeom>
              <a:solidFill>
                <a:srgbClr val="FF0000"/>
              </a:solidFill>
              <a:ln w="170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275" name="Freeform: Shape 274" descr="Ringer with solid fill">
                <a:extLst>
                  <a:ext uri="{FF2B5EF4-FFF2-40B4-BE49-F238E27FC236}">
                    <a16:creationId xmlns:a16="http://schemas.microsoft.com/office/drawing/2014/main" id="{696AAE0A-5830-45FE-902A-10ACFDE4F1E1}"/>
                  </a:ext>
                </a:extLst>
              </p:cNvPr>
              <p:cNvSpPr/>
              <p:nvPr/>
            </p:nvSpPr>
            <p:spPr>
              <a:xfrm>
                <a:off x="8164308" y="3543658"/>
                <a:ext cx="1181821" cy="1120025"/>
              </a:xfrm>
              <a:custGeom>
                <a:avLst/>
                <a:gdLst>
                  <a:gd name="connsiteX0" fmla="*/ 590910 w 1181820"/>
                  <a:gd name="connsiteY0" fmla="*/ 69374 h 1120024"/>
                  <a:gd name="connsiteX1" fmla="*/ 536952 w 1181820"/>
                  <a:gd name="connsiteY1" fmla="*/ 123332 h 1120024"/>
                  <a:gd name="connsiteX2" fmla="*/ 539522 w 1181820"/>
                  <a:gd name="connsiteY2" fmla="*/ 139263 h 1120024"/>
                  <a:gd name="connsiteX3" fmla="*/ 590910 w 1181820"/>
                  <a:gd name="connsiteY3" fmla="*/ 133439 h 1120024"/>
                  <a:gd name="connsiteX4" fmla="*/ 642299 w 1181820"/>
                  <a:gd name="connsiteY4" fmla="*/ 139263 h 1120024"/>
                  <a:gd name="connsiteX5" fmla="*/ 644868 w 1181820"/>
                  <a:gd name="connsiteY5" fmla="*/ 123332 h 1120024"/>
                  <a:gd name="connsiteX6" fmla="*/ 590910 w 1181820"/>
                  <a:gd name="connsiteY6" fmla="*/ 69374 h 1120024"/>
                  <a:gd name="connsiteX7" fmla="*/ 590910 w 1181820"/>
                  <a:gd name="connsiteY7" fmla="*/ 0 h 1120024"/>
                  <a:gd name="connsiteX8" fmla="*/ 713386 w 1181820"/>
                  <a:gd name="connsiteY8" fmla="*/ 122476 h 1120024"/>
                  <a:gd name="connsiteX9" fmla="*/ 708590 w 1181820"/>
                  <a:gd name="connsiteY9" fmla="*/ 156735 h 1120024"/>
                  <a:gd name="connsiteX10" fmla="*/ 904551 w 1181820"/>
                  <a:gd name="connsiteY10" fmla="*/ 427380 h 1120024"/>
                  <a:gd name="connsiteX11" fmla="*/ 1159437 w 1181820"/>
                  <a:gd name="connsiteY11" fmla="*/ 1054833 h 1120024"/>
                  <a:gd name="connsiteX12" fmla="*/ 1171819 w 1181820"/>
                  <a:gd name="connsiteY12" fmla="*/ 1112645 h 1120024"/>
                  <a:gd name="connsiteX13" fmla="*/ 1156334 w 1181820"/>
                  <a:gd name="connsiteY13" fmla="*/ 1120024 h 1120024"/>
                  <a:gd name="connsiteX14" fmla="*/ 25488 w 1181820"/>
                  <a:gd name="connsiteY14" fmla="*/ 1120024 h 1120024"/>
                  <a:gd name="connsiteX15" fmla="*/ 10002 w 1181820"/>
                  <a:gd name="connsiteY15" fmla="*/ 1112618 h 1120024"/>
                  <a:gd name="connsiteX16" fmla="*/ 22383 w 1181820"/>
                  <a:gd name="connsiteY16" fmla="*/ 1054661 h 1120024"/>
                  <a:gd name="connsiteX17" fmla="*/ 277270 w 1181820"/>
                  <a:gd name="connsiteY17" fmla="*/ 427380 h 1120024"/>
                  <a:gd name="connsiteX18" fmla="*/ 473231 w 1181820"/>
                  <a:gd name="connsiteY18" fmla="*/ 156735 h 1120024"/>
                  <a:gd name="connsiteX19" fmla="*/ 468434 w 1181820"/>
                  <a:gd name="connsiteY19" fmla="*/ 122476 h 1120024"/>
                  <a:gd name="connsiteX20" fmla="*/ 590910 w 1181820"/>
                  <a:gd name="connsiteY20" fmla="*/ 0 h 1120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81820" h="1120024">
                    <a:moveTo>
                      <a:pt x="590910" y="69374"/>
                    </a:moveTo>
                    <a:cubicBezTo>
                      <a:pt x="561110" y="69374"/>
                      <a:pt x="536952" y="93532"/>
                      <a:pt x="536952" y="123332"/>
                    </a:cubicBezTo>
                    <a:cubicBezTo>
                      <a:pt x="536995" y="128742"/>
                      <a:pt x="537862" y="134113"/>
                      <a:pt x="539522" y="139263"/>
                    </a:cubicBezTo>
                    <a:cubicBezTo>
                      <a:pt x="556488" y="136080"/>
                      <a:pt x="573662" y="134134"/>
                      <a:pt x="590910" y="133439"/>
                    </a:cubicBezTo>
                    <a:cubicBezTo>
                      <a:pt x="608166" y="134028"/>
                      <a:pt x="625349" y="135975"/>
                      <a:pt x="642299" y="139263"/>
                    </a:cubicBezTo>
                    <a:cubicBezTo>
                      <a:pt x="643929" y="134107"/>
                      <a:pt x="644794" y="128740"/>
                      <a:pt x="644868" y="123332"/>
                    </a:cubicBezTo>
                    <a:cubicBezTo>
                      <a:pt x="644868" y="93532"/>
                      <a:pt x="620710" y="69374"/>
                      <a:pt x="590910" y="69374"/>
                    </a:cubicBezTo>
                    <a:close/>
                    <a:moveTo>
                      <a:pt x="590910" y="0"/>
                    </a:moveTo>
                    <a:cubicBezTo>
                      <a:pt x="658551" y="0"/>
                      <a:pt x="713386" y="54835"/>
                      <a:pt x="713386" y="122476"/>
                    </a:cubicBezTo>
                    <a:cubicBezTo>
                      <a:pt x="713451" y="134067"/>
                      <a:pt x="711836" y="145607"/>
                      <a:pt x="708590" y="156735"/>
                    </a:cubicBezTo>
                    <a:cubicBezTo>
                      <a:pt x="795607" y="187568"/>
                      <a:pt x="899583" y="259683"/>
                      <a:pt x="904551" y="427380"/>
                    </a:cubicBezTo>
                    <a:cubicBezTo>
                      <a:pt x="918254" y="883538"/>
                      <a:pt x="1062998" y="1006528"/>
                      <a:pt x="1159437" y="1054833"/>
                    </a:cubicBezTo>
                    <a:cubicBezTo>
                      <a:pt x="1188857" y="1069479"/>
                      <a:pt x="1185132" y="1098866"/>
                      <a:pt x="1171819" y="1112645"/>
                    </a:cubicBezTo>
                    <a:lnTo>
                      <a:pt x="1156334" y="1120024"/>
                    </a:lnTo>
                    <a:lnTo>
                      <a:pt x="25488" y="1120024"/>
                    </a:lnTo>
                    <a:lnTo>
                      <a:pt x="10002" y="1112618"/>
                    </a:lnTo>
                    <a:cubicBezTo>
                      <a:pt x="-3311" y="1098791"/>
                      <a:pt x="-7037" y="1069307"/>
                      <a:pt x="22383" y="1054661"/>
                    </a:cubicBezTo>
                    <a:cubicBezTo>
                      <a:pt x="118822" y="1006356"/>
                      <a:pt x="263566" y="883024"/>
                      <a:pt x="277270" y="427380"/>
                    </a:cubicBezTo>
                    <a:cubicBezTo>
                      <a:pt x="282237" y="259511"/>
                      <a:pt x="386213" y="187568"/>
                      <a:pt x="473231" y="156735"/>
                    </a:cubicBezTo>
                    <a:cubicBezTo>
                      <a:pt x="469985" y="145607"/>
                      <a:pt x="468369" y="134067"/>
                      <a:pt x="468434" y="122476"/>
                    </a:cubicBezTo>
                    <a:cubicBezTo>
                      <a:pt x="468434" y="54835"/>
                      <a:pt x="523269" y="0"/>
                      <a:pt x="59091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170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276" name="Group 275">
                <a:extLst>
                  <a:ext uri="{FF2B5EF4-FFF2-40B4-BE49-F238E27FC236}">
                    <a16:creationId xmlns:a16="http://schemas.microsoft.com/office/drawing/2014/main" id="{3FD00580-EC60-4515-AE3C-ECD0DB06F8E1}"/>
                  </a:ext>
                </a:extLst>
              </p:cNvPr>
              <p:cNvGrpSpPr/>
              <p:nvPr/>
            </p:nvGrpSpPr>
            <p:grpSpPr>
              <a:xfrm>
                <a:off x="7967678" y="3687718"/>
                <a:ext cx="556548" cy="492398"/>
                <a:chOff x="5710097" y="3682228"/>
                <a:chExt cx="1544681" cy="1366635"/>
              </a:xfrm>
              <a:solidFill>
                <a:srgbClr val="FF0000"/>
              </a:solidFill>
            </p:grpSpPr>
            <p:sp>
              <p:nvSpPr>
                <p:cNvPr id="280" name="Freeform: Shape 279">
                  <a:extLst>
                    <a:ext uri="{FF2B5EF4-FFF2-40B4-BE49-F238E27FC236}">
                      <a16:creationId xmlns:a16="http://schemas.microsoft.com/office/drawing/2014/main" id="{CC280F8E-09E0-4CD6-A56F-30C00065CCD2}"/>
                    </a:ext>
                  </a:extLst>
                </p:cNvPr>
                <p:cNvSpPr/>
                <p:nvPr/>
              </p:nvSpPr>
              <p:spPr>
                <a:xfrm rot="18900000">
                  <a:off x="6222802" y="3848993"/>
                  <a:ext cx="1031976" cy="1039309"/>
                </a:xfrm>
                <a:custGeom>
                  <a:avLst/>
                  <a:gdLst>
                    <a:gd name="connsiteX0" fmla="*/ 57150 w 451008"/>
                    <a:gd name="connsiteY0" fmla="*/ 450628 h 450627"/>
                    <a:gd name="connsiteX1" fmla="*/ 0 w 451008"/>
                    <a:gd name="connsiteY1" fmla="*/ 450628 h 450627"/>
                    <a:gd name="connsiteX2" fmla="*/ 451009 w 451008"/>
                    <a:gd name="connsiteY2" fmla="*/ 0 h 450627"/>
                    <a:gd name="connsiteX3" fmla="*/ 451009 w 451008"/>
                    <a:gd name="connsiteY3" fmla="*/ 57150 h 450627"/>
                    <a:gd name="connsiteX4" fmla="*/ 57150 w 451008"/>
                    <a:gd name="connsiteY4" fmla="*/ 450628 h 450627"/>
                    <a:gd name="connsiteX0" fmla="*/ 57150 w 474440"/>
                    <a:gd name="connsiteY0" fmla="*/ 450628 h 450628"/>
                    <a:gd name="connsiteX1" fmla="*/ 0 w 474440"/>
                    <a:gd name="connsiteY1" fmla="*/ 450628 h 450628"/>
                    <a:gd name="connsiteX2" fmla="*/ 451009 w 474440"/>
                    <a:gd name="connsiteY2" fmla="*/ 0 h 450628"/>
                    <a:gd name="connsiteX3" fmla="*/ 451009 w 474440"/>
                    <a:gd name="connsiteY3" fmla="*/ 57150 h 450628"/>
                    <a:gd name="connsiteX4" fmla="*/ 57150 w 474440"/>
                    <a:gd name="connsiteY4" fmla="*/ 450628 h 450628"/>
                    <a:gd name="connsiteX0" fmla="*/ 57150 w 485512"/>
                    <a:gd name="connsiteY0" fmla="*/ 450628 h 450628"/>
                    <a:gd name="connsiteX1" fmla="*/ 0 w 485512"/>
                    <a:gd name="connsiteY1" fmla="*/ 450628 h 450628"/>
                    <a:gd name="connsiteX2" fmla="*/ 451009 w 485512"/>
                    <a:gd name="connsiteY2" fmla="*/ 0 h 450628"/>
                    <a:gd name="connsiteX3" fmla="*/ 451009 w 485512"/>
                    <a:gd name="connsiteY3" fmla="*/ 57150 h 450628"/>
                    <a:gd name="connsiteX4" fmla="*/ 57150 w 485512"/>
                    <a:gd name="connsiteY4" fmla="*/ 450628 h 450628"/>
                    <a:gd name="connsiteX0" fmla="*/ 57150 w 476982"/>
                    <a:gd name="connsiteY0" fmla="*/ 450628 h 450628"/>
                    <a:gd name="connsiteX1" fmla="*/ 0 w 476982"/>
                    <a:gd name="connsiteY1" fmla="*/ 450628 h 450628"/>
                    <a:gd name="connsiteX2" fmla="*/ 451009 w 476982"/>
                    <a:gd name="connsiteY2" fmla="*/ 0 h 450628"/>
                    <a:gd name="connsiteX3" fmla="*/ 451009 w 476982"/>
                    <a:gd name="connsiteY3" fmla="*/ 57150 h 450628"/>
                    <a:gd name="connsiteX4" fmla="*/ 57150 w 476982"/>
                    <a:gd name="connsiteY4" fmla="*/ 450628 h 450628"/>
                    <a:gd name="connsiteX0" fmla="*/ 57150 w 475161"/>
                    <a:gd name="connsiteY0" fmla="*/ 450628 h 450628"/>
                    <a:gd name="connsiteX1" fmla="*/ 0 w 475161"/>
                    <a:gd name="connsiteY1" fmla="*/ 450628 h 450628"/>
                    <a:gd name="connsiteX2" fmla="*/ 451009 w 475161"/>
                    <a:gd name="connsiteY2" fmla="*/ 0 h 450628"/>
                    <a:gd name="connsiteX3" fmla="*/ 451009 w 475161"/>
                    <a:gd name="connsiteY3" fmla="*/ 57150 h 450628"/>
                    <a:gd name="connsiteX4" fmla="*/ 57150 w 475161"/>
                    <a:gd name="connsiteY4" fmla="*/ 450628 h 450628"/>
                    <a:gd name="connsiteX0" fmla="*/ 57150 w 475161"/>
                    <a:gd name="connsiteY0" fmla="*/ 450628 h 470268"/>
                    <a:gd name="connsiteX1" fmla="*/ 0 w 475161"/>
                    <a:gd name="connsiteY1" fmla="*/ 450628 h 470268"/>
                    <a:gd name="connsiteX2" fmla="*/ 451009 w 475161"/>
                    <a:gd name="connsiteY2" fmla="*/ 0 h 470268"/>
                    <a:gd name="connsiteX3" fmla="*/ 451009 w 475161"/>
                    <a:gd name="connsiteY3" fmla="*/ 57150 h 470268"/>
                    <a:gd name="connsiteX4" fmla="*/ 57150 w 475161"/>
                    <a:gd name="connsiteY4" fmla="*/ 450628 h 470268"/>
                    <a:gd name="connsiteX0" fmla="*/ 57150 w 475161"/>
                    <a:gd name="connsiteY0" fmla="*/ 450628 h 481210"/>
                    <a:gd name="connsiteX1" fmla="*/ 0 w 475161"/>
                    <a:gd name="connsiteY1" fmla="*/ 450628 h 481210"/>
                    <a:gd name="connsiteX2" fmla="*/ 451009 w 475161"/>
                    <a:gd name="connsiteY2" fmla="*/ 0 h 481210"/>
                    <a:gd name="connsiteX3" fmla="*/ 451009 w 475161"/>
                    <a:gd name="connsiteY3" fmla="*/ 57150 h 481210"/>
                    <a:gd name="connsiteX4" fmla="*/ 57150 w 475161"/>
                    <a:gd name="connsiteY4" fmla="*/ 450628 h 481210"/>
                    <a:gd name="connsiteX0" fmla="*/ 57150 w 475161"/>
                    <a:gd name="connsiteY0" fmla="*/ 450628 h 478538"/>
                    <a:gd name="connsiteX1" fmla="*/ 0 w 475161"/>
                    <a:gd name="connsiteY1" fmla="*/ 450628 h 478538"/>
                    <a:gd name="connsiteX2" fmla="*/ 451009 w 475161"/>
                    <a:gd name="connsiteY2" fmla="*/ 0 h 478538"/>
                    <a:gd name="connsiteX3" fmla="*/ 451009 w 475161"/>
                    <a:gd name="connsiteY3" fmla="*/ 57150 h 478538"/>
                    <a:gd name="connsiteX4" fmla="*/ 57150 w 475161"/>
                    <a:gd name="connsiteY4" fmla="*/ 450628 h 478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5161" h="478538">
                      <a:moveTo>
                        <a:pt x="57150" y="450628"/>
                      </a:moveTo>
                      <a:cubicBezTo>
                        <a:pt x="55156" y="487842"/>
                        <a:pt x="1994" y="487842"/>
                        <a:pt x="0" y="450628"/>
                      </a:cubicBezTo>
                      <a:cubicBezTo>
                        <a:pt x="472" y="201800"/>
                        <a:pt x="202181" y="262"/>
                        <a:pt x="451009" y="0"/>
                      </a:cubicBezTo>
                      <a:cubicBezTo>
                        <a:pt x="481245" y="1218"/>
                        <a:pt x="485122" y="53606"/>
                        <a:pt x="451009" y="57150"/>
                      </a:cubicBezTo>
                      <a:cubicBezTo>
                        <a:pt x="233743" y="57412"/>
                        <a:pt x="57622" y="233363"/>
                        <a:pt x="57150" y="4506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281" name="Freeform: Shape 280">
                  <a:extLst>
                    <a:ext uri="{FF2B5EF4-FFF2-40B4-BE49-F238E27FC236}">
                      <a16:creationId xmlns:a16="http://schemas.microsoft.com/office/drawing/2014/main" id="{A7D6E3D2-F7A1-4BDB-8106-E404CB4101C6}"/>
                    </a:ext>
                  </a:extLst>
                </p:cNvPr>
                <p:cNvSpPr/>
                <p:nvPr/>
              </p:nvSpPr>
              <p:spPr>
                <a:xfrm rot="18900000">
                  <a:off x="5710097" y="3682228"/>
                  <a:ext cx="1366416" cy="1366635"/>
                </a:xfrm>
                <a:custGeom>
                  <a:avLst/>
                  <a:gdLst>
                    <a:gd name="connsiteX0" fmla="*/ 57150 w 600075"/>
                    <a:gd name="connsiteY0" fmla="*/ 600075 h 600075"/>
                    <a:gd name="connsiteX1" fmla="*/ 0 w 600075"/>
                    <a:gd name="connsiteY1" fmla="*/ 600075 h 600075"/>
                    <a:gd name="connsiteX2" fmla="*/ 600075 w 600075"/>
                    <a:gd name="connsiteY2" fmla="*/ 0 h 600075"/>
                    <a:gd name="connsiteX3" fmla="*/ 600075 w 600075"/>
                    <a:gd name="connsiteY3" fmla="*/ 57150 h 600075"/>
                    <a:gd name="connsiteX4" fmla="*/ 57150 w 600075"/>
                    <a:gd name="connsiteY4" fmla="*/ 600075 h 600075"/>
                    <a:gd name="connsiteX0" fmla="*/ 57150 w 610756"/>
                    <a:gd name="connsiteY0" fmla="*/ 600075 h 600075"/>
                    <a:gd name="connsiteX1" fmla="*/ 0 w 610756"/>
                    <a:gd name="connsiteY1" fmla="*/ 600075 h 600075"/>
                    <a:gd name="connsiteX2" fmla="*/ 600075 w 610756"/>
                    <a:gd name="connsiteY2" fmla="*/ 0 h 600075"/>
                    <a:gd name="connsiteX3" fmla="*/ 600075 w 610756"/>
                    <a:gd name="connsiteY3" fmla="*/ 57150 h 600075"/>
                    <a:gd name="connsiteX4" fmla="*/ 57150 w 610756"/>
                    <a:gd name="connsiteY4" fmla="*/ 600075 h 600075"/>
                    <a:gd name="connsiteX0" fmla="*/ 57150 w 623620"/>
                    <a:gd name="connsiteY0" fmla="*/ 600075 h 600075"/>
                    <a:gd name="connsiteX1" fmla="*/ 0 w 623620"/>
                    <a:gd name="connsiteY1" fmla="*/ 600075 h 600075"/>
                    <a:gd name="connsiteX2" fmla="*/ 600075 w 623620"/>
                    <a:gd name="connsiteY2" fmla="*/ 0 h 600075"/>
                    <a:gd name="connsiteX3" fmla="*/ 600075 w 623620"/>
                    <a:gd name="connsiteY3" fmla="*/ 57150 h 600075"/>
                    <a:gd name="connsiteX4" fmla="*/ 57150 w 623620"/>
                    <a:gd name="connsiteY4" fmla="*/ 600075 h 600075"/>
                    <a:gd name="connsiteX0" fmla="*/ 57150 w 629151"/>
                    <a:gd name="connsiteY0" fmla="*/ 600075 h 600075"/>
                    <a:gd name="connsiteX1" fmla="*/ 0 w 629151"/>
                    <a:gd name="connsiteY1" fmla="*/ 600075 h 600075"/>
                    <a:gd name="connsiteX2" fmla="*/ 600075 w 629151"/>
                    <a:gd name="connsiteY2" fmla="*/ 0 h 600075"/>
                    <a:gd name="connsiteX3" fmla="*/ 600075 w 629151"/>
                    <a:gd name="connsiteY3" fmla="*/ 57150 h 600075"/>
                    <a:gd name="connsiteX4" fmla="*/ 57150 w 629151"/>
                    <a:gd name="connsiteY4" fmla="*/ 600075 h 600075"/>
                    <a:gd name="connsiteX0" fmla="*/ 57150 w 629151"/>
                    <a:gd name="connsiteY0" fmla="*/ 600075 h 616959"/>
                    <a:gd name="connsiteX1" fmla="*/ 0 w 629151"/>
                    <a:gd name="connsiteY1" fmla="*/ 600075 h 616959"/>
                    <a:gd name="connsiteX2" fmla="*/ 600075 w 629151"/>
                    <a:gd name="connsiteY2" fmla="*/ 0 h 616959"/>
                    <a:gd name="connsiteX3" fmla="*/ 600075 w 629151"/>
                    <a:gd name="connsiteY3" fmla="*/ 57150 h 616959"/>
                    <a:gd name="connsiteX4" fmla="*/ 57150 w 629151"/>
                    <a:gd name="connsiteY4" fmla="*/ 600075 h 616959"/>
                    <a:gd name="connsiteX0" fmla="*/ 57150 w 629151"/>
                    <a:gd name="connsiteY0" fmla="*/ 600075 h 627132"/>
                    <a:gd name="connsiteX1" fmla="*/ 0 w 629151"/>
                    <a:gd name="connsiteY1" fmla="*/ 600075 h 627132"/>
                    <a:gd name="connsiteX2" fmla="*/ 600075 w 629151"/>
                    <a:gd name="connsiteY2" fmla="*/ 0 h 627132"/>
                    <a:gd name="connsiteX3" fmla="*/ 600075 w 629151"/>
                    <a:gd name="connsiteY3" fmla="*/ 57150 h 627132"/>
                    <a:gd name="connsiteX4" fmla="*/ 57150 w 629151"/>
                    <a:gd name="connsiteY4" fmla="*/ 600075 h 627132"/>
                    <a:gd name="connsiteX0" fmla="*/ 57150 w 629151"/>
                    <a:gd name="connsiteY0" fmla="*/ 600075 h 629252"/>
                    <a:gd name="connsiteX1" fmla="*/ 0 w 629151"/>
                    <a:gd name="connsiteY1" fmla="*/ 600075 h 629252"/>
                    <a:gd name="connsiteX2" fmla="*/ 600075 w 629151"/>
                    <a:gd name="connsiteY2" fmla="*/ 0 h 629252"/>
                    <a:gd name="connsiteX3" fmla="*/ 600075 w 629151"/>
                    <a:gd name="connsiteY3" fmla="*/ 57150 h 629252"/>
                    <a:gd name="connsiteX4" fmla="*/ 57150 w 629151"/>
                    <a:gd name="connsiteY4" fmla="*/ 600075 h 629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9151" h="629252">
                      <a:moveTo>
                        <a:pt x="57150" y="600075"/>
                      </a:moveTo>
                      <a:cubicBezTo>
                        <a:pt x="56707" y="643491"/>
                        <a:pt x="444" y="634188"/>
                        <a:pt x="0" y="600075"/>
                      </a:cubicBezTo>
                      <a:cubicBezTo>
                        <a:pt x="368" y="268816"/>
                        <a:pt x="268816" y="368"/>
                        <a:pt x="600075" y="0"/>
                      </a:cubicBezTo>
                      <a:cubicBezTo>
                        <a:pt x="639615" y="2770"/>
                        <a:pt x="638064" y="57482"/>
                        <a:pt x="600075" y="57150"/>
                      </a:cubicBezTo>
                      <a:cubicBezTo>
                        <a:pt x="300357" y="57465"/>
                        <a:pt x="57465" y="300357"/>
                        <a:pt x="57150" y="6000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grpSp>
            <p:nvGrpSpPr>
              <p:cNvPr id="277" name="Group 276">
                <a:extLst>
                  <a:ext uri="{FF2B5EF4-FFF2-40B4-BE49-F238E27FC236}">
                    <a16:creationId xmlns:a16="http://schemas.microsoft.com/office/drawing/2014/main" id="{F7D750BE-D6CE-403F-BA62-70AD61020D68}"/>
                  </a:ext>
                </a:extLst>
              </p:cNvPr>
              <p:cNvGrpSpPr/>
              <p:nvPr/>
            </p:nvGrpSpPr>
            <p:grpSpPr>
              <a:xfrm rot="10800000">
                <a:off x="9209378" y="3687717"/>
                <a:ext cx="556548" cy="492398"/>
                <a:chOff x="5710097" y="3682228"/>
                <a:chExt cx="1544681" cy="1366635"/>
              </a:xfrm>
              <a:solidFill>
                <a:srgbClr val="FF0000"/>
              </a:solidFill>
            </p:grpSpPr>
            <p:sp>
              <p:nvSpPr>
                <p:cNvPr id="278" name="Freeform: Shape 277">
                  <a:extLst>
                    <a:ext uri="{FF2B5EF4-FFF2-40B4-BE49-F238E27FC236}">
                      <a16:creationId xmlns:a16="http://schemas.microsoft.com/office/drawing/2014/main" id="{45959DF6-4FB8-47D2-9B2B-5A66A883AB58}"/>
                    </a:ext>
                  </a:extLst>
                </p:cNvPr>
                <p:cNvSpPr/>
                <p:nvPr/>
              </p:nvSpPr>
              <p:spPr>
                <a:xfrm rot="18900000">
                  <a:off x="6222802" y="3848993"/>
                  <a:ext cx="1031976" cy="1039309"/>
                </a:xfrm>
                <a:custGeom>
                  <a:avLst/>
                  <a:gdLst>
                    <a:gd name="connsiteX0" fmla="*/ 57150 w 451008"/>
                    <a:gd name="connsiteY0" fmla="*/ 450628 h 450627"/>
                    <a:gd name="connsiteX1" fmla="*/ 0 w 451008"/>
                    <a:gd name="connsiteY1" fmla="*/ 450628 h 450627"/>
                    <a:gd name="connsiteX2" fmla="*/ 451009 w 451008"/>
                    <a:gd name="connsiteY2" fmla="*/ 0 h 450627"/>
                    <a:gd name="connsiteX3" fmla="*/ 451009 w 451008"/>
                    <a:gd name="connsiteY3" fmla="*/ 57150 h 450627"/>
                    <a:gd name="connsiteX4" fmla="*/ 57150 w 451008"/>
                    <a:gd name="connsiteY4" fmla="*/ 450628 h 450627"/>
                    <a:gd name="connsiteX0" fmla="*/ 57150 w 474440"/>
                    <a:gd name="connsiteY0" fmla="*/ 450628 h 450628"/>
                    <a:gd name="connsiteX1" fmla="*/ 0 w 474440"/>
                    <a:gd name="connsiteY1" fmla="*/ 450628 h 450628"/>
                    <a:gd name="connsiteX2" fmla="*/ 451009 w 474440"/>
                    <a:gd name="connsiteY2" fmla="*/ 0 h 450628"/>
                    <a:gd name="connsiteX3" fmla="*/ 451009 w 474440"/>
                    <a:gd name="connsiteY3" fmla="*/ 57150 h 450628"/>
                    <a:gd name="connsiteX4" fmla="*/ 57150 w 474440"/>
                    <a:gd name="connsiteY4" fmla="*/ 450628 h 450628"/>
                    <a:gd name="connsiteX0" fmla="*/ 57150 w 485512"/>
                    <a:gd name="connsiteY0" fmla="*/ 450628 h 450628"/>
                    <a:gd name="connsiteX1" fmla="*/ 0 w 485512"/>
                    <a:gd name="connsiteY1" fmla="*/ 450628 h 450628"/>
                    <a:gd name="connsiteX2" fmla="*/ 451009 w 485512"/>
                    <a:gd name="connsiteY2" fmla="*/ 0 h 450628"/>
                    <a:gd name="connsiteX3" fmla="*/ 451009 w 485512"/>
                    <a:gd name="connsiteY3" fmla="*/ 57150 h 450628"/>
                    <a:gd name="connsiteX4" fmla="*/ 57150 w 485512"/>
                    <a:gd name="connsiteY4" fmla="*/ 450628 h 450628"/>
                    <a:gd name="connsiteX0" fmla="*/ 57150 w 476982"/>
                    <a:gd name="connsiteY0" fmla="*/ 450628 h 450628"/>
                    <a:gd name="connsiteX1" fmla="*/ 0 w 476982"/>
                    <a:gd name="connsiteY1" fmla="*/ 450628 h 450628"/>
                    <a:gd name="connsiteX2" fmla="*/ 451009 w 476982"/>
                    <a:gd name="connsiteY2" fmla="*/ 0 h 450628"/>
                    <a:gd name="connsiteX3" fmla="*/ 451009 w 476982"/>
                    <a:gd name="connsiteY3" fmla="*/ 57150 h 450628"/>
                    <a:gd name="connsiteX4" fmla="*/ 57150 w 476982"/>
                    <a:gd name="connsiteY4" fmla="*/ 450628 h 450628"/>
                    <a:gd name="connsiteX0" fmla="*/ 57150 w 475161"/>
                    <a:gd name="connsiteY0" fmla="*/ 450628 h 450628"/>
                    <a:gd name="connsiteX1" fmla="*/ 0 w 475161"/>
                    <a:gd name="connsiteY1" fmla="*/ 450628 h 450628"/>
                    <a:gd name="connsiteX2" fmla="*/ 451009 w 475161"/>
                    <a:gd name="connsiteY2" fmla="*/ 0 h 450628"/>
                    <a:gd name="connsiteX3" fmla="*/ 451009 w 475161"/>
                    <a:gd name="connsiteY3" fmla="*/ 57150 h 450628"/>
                    <a:gd name="connsiteX4" fmla="*/ 57150 w 475161"/>
                    <a:gd name="connsiteY4" fmla="*/ 450628 h 450628"/>
                    <a:gd name="connsiteX0" fmla="*/ 57150 w 475161"/>
                    <a:gd name="connsiteY0" fmla="*/ 450628 h 470268"/>
                    <a:gd name="connsiteX1" fmla="*/ 0 w 475161"/>
                    <a:gd name="connsiteY1" fmla="*/ 450628 h 470268"/>
                    <a:gd name="connsiteX2" fmla="*/ 451009 w 475161"/>
                    <a:gd name="connsiteY2" fmla="*/ 0 h 470268"/>
                    <a:gd name="connsiteX3" fmla="*/ 451009 w 475161"/>
                    <a:gd name="connsiteY3" fmla="*/ 57150 h 470268"/>
                    <a:gd name="connsiteX4" fmla="*/ 57150 w 475161"/>
                    <a:gd name="connsiteY4" fmla="*/ 450628 h 470268"/>
                    <a:gd name="connsiteX0" fmla="*/ 57150 w 475161"/>
                    <a:gd name="connsiteY0" fmla="*/ 450628 h 481210"/>
                    <a:gd name="connsiteX1" fmla="*/ 0 w 475161"/>
                    <a:gd name="connsiteY1" fmla="*/ 450628 h 481210"/>
                    <a:gd name="connsiteX2" fmla="*/ 451009 w 475161"/>
                    <a:gd name="connsiteY2" fmla="*/ 0 h 481210"/>
                    <a:gd name="connsiteX3" fmla="*/ 451009 w 475161"/>
                    <a:gd name="connsiteY3" fmla="*/ 57150 h 481210"/>
                    <a:gd name="connsiteX4" fmla="*/ 57150 w 475161"/>
                    <a:gd name="connsiteY4" fmla="*/ 450628 h 481210"/>
                    <a:gd name="connsiteX0" fmla="*/ 57150 w 475161"/>
                    <a:gd name="connsiteY0" fmla="*/ 450628 h 478538"/>
                    <a:gd name="connsiteX1" fmla="*/ 0 w 475161"/>
                    <a:gd name="connsiteY1" fmla="*/ 450628 h 478538"/>
                    <a:gd name="connsiteX2" fmla="*/ 451009 w 475161"/>
                    <a:gd name="connsiteY2" fmla="*/ 0 h 478538"/>
                    <a:gd name="connsiteX3" fmla="*/ 451009 w 475161"/>
                    <a:gd name="connsiteY3" fmla="*/ 57150 h 478538"/>
                    <a:gd name="connsiteX4" fmla="*/ 57150 w 475161"/>
                    <a:gd name="connsiteY4" fmla="*/ 450628 h 478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5161" h="478538">
                      <a:moveTo>
                        <a:pt x="57150" y="450628"/>
                      </a:moveTo>
                      <a:cubicBezTo>
                        <a:pt x="55156" y="487842"/>
                        <a:pt x="1994" y="487842"/>
                        <a:pt x="0" y="450628"/>
                      </a:cubicBezTo>
                      <a:cubicBezTo>
                        <a:pt x="472" y="201800"/>
                        <a:pt x="202181" y="262"/>
                        <a:pt x="451009" y="0"/>
                      </a:cubicBezTo>
                      <a:cubicBezTo>
                        <a:pt x="481245" y="1218"/>
                        <a:pt x="485122" y="53606"/>
                        <a:pt x="451009" y="57150"/>
                      </a:cubicBezTo>
                      <a:cubicBezTo>
                        <a:pt x="233743" y="57412"/>
                        <a:pt x="57622" y="233363"/>
                        <a:pt x="57150" y="4506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279" name="Freeform: Shape 278">
                  <a:extLst>
                    <a:ext uri="{FF2B5EF4-FFF2-40B4-BE49-F238E27FC236}">
                      <a16:creationId xmlns:a16="http://schemas.microsoft.com/office/drawing/2014/main" id="{5933D001-7227-4805-9D1F-F3B2AD65B9E3}"/>
                    </a:ext>
                  </a:extLst>
                </p:cNvPr>
                <p:cNvSpPr/>
                <p:nvPr/>
              </p:nvSpPr>
              <p:spPr>
                <a:xfrm rot="18900000">
                  <a:off x="5710097" y="3682228"/>
                  <a:ext cx="1366416" cy="1366635"/>
                </a:xfrm>
                <a:custGeom>
                  <a:avLst/>
                  <a:gdLst>
                    <a:gd name="connsiteX0" fmla="*/ 57150 w 600075"/>
                    <a:gd name="connsiteY0" fmla="*/ 600075 h 600075"/>
                    <a:gd name="connsiteX1" fmla="*/ 0 w 600075"/>
                    <a:gd name="connsiteY1" fmla="*/ 600075 h 600075"/>
                    <a:gd name="connsiteX2" fmla="*/ 600075 w 600075"/>
                    <a:gd name="connsiteY2" fmla="*/ 0 h 600075"/>
                    <a:gd name="connsiteX3" fmla="*/ 600075 w 600075"/>
                    <a:gd name="connsiteY3" fmla="*/ 57150 h 600075"/>
                    <a:gd name="connsiteX4" fmla="*/ 57150 w 600075"/>
                    <a:gd name="connsiteY4" fmla="*/ 600075 h 600075"/>
                    <a:gd name="connsiteX0" fmla="*/ 57150 w 610756"/>
                    <a:gd name="connsiteY0" fmla="*/ 600075 h 600075"/>
                    <a:gd name="connsiteX1" fmla="*/ 0 w 610756"/>
                    <a:gd name="connsiteY1" fmla="*/ 600075 h 600075"/>
                    <a:gd name="connsiteX2" fmla="*/ 600075 w 610756"/>
                    <a:gd name="connsiteY2" fmla="*/ 0 h 600075"/>
                    <a:gd name="connsiteX3" fmla="*/ 600075 w 610756"/>
                    <a:gd name="connsiteY3" fmla="*/ 57150 h 600075"/>
                    <a:gd name="connsiteX4" fmla="*/ 57150 w 610756"/>
                    <a:gd name="connsiteY4" fmla="*/ 600075 h 600075"/>
                    <a:gd name="connsiteX0" fmla="*/ 57150 w 623620"/>
                    <a:gd name="connsiteY0" fmla="*/ 600075 h 600075"/>
                    <a:gd name="connsiteX1" fmla="*/ 0 w 623620"/>
                    <a:gd name="connsiteY1" fmla="*/ 600075 h 600075"/>
                    <a:gd name="connsiteX2" fmla="*/ 600075 w 623620"/>
                    <a:gd name="connsiteY2" fmla="*/ 0 h 600075"/>
                    <a:gd name="connsiteX3" fmla="*/ 600075 w 623620"/>
                    <a:gd name="connsiteY3" fmla="*/ 57150 h 600075"/>
                    <a:gd name="connsiteX4" fmla="*/ 57150 w 623620"/>
                    <a:gd name="connsiteY4" fmla="*/ 600075 h 600075"/>
                    <a:gd name="connsiteX0" fmla="*/ 57150 w 629151"/>
                    <a:gd name="connsiteY0" fmla="*/ 600075 h 600075"/>
                    <a:gd name="connsiteX1" fmla="*/ 0 w 629151"/>
                    <a:gd name="connsiteY1" fmla="*/ 600075 h 600075"/>
                    <a:gd name="connsiteX2" fmla="*/ 600075 w 629151"/>
                    <a:gd name="connsiteY2" fmla="*/ 0 h 600075"/>
                    <a:gd name="connsiteX3" fmla="*/ 600075 w 629151"/>
                    <a:gd name="connsiteY3" fmla="*/ 57150 h 600075"/>
                    <a:gd name="connsiteX4" fmla="*/ 57150 w 629151"/>
                    <a:gd name="connsiteY4" fmla="*/ 600075 h 600075"/>
                    <a:gd name="connsiteX0" fmla="*/ 57150 w 629151"/>
                    <a:gd name="connsiteY0" fmla="*/ 600075 h 616959"/>
                    <a:gd name="connsiteX1" fmla="*/ 0 w 629151"/>
                    <a:gd name="connsiteY1" fmla="*/ 600075 h 616959"/>
                    <a:gd name="connsiteX2" fmla="*/ 600075 w 629151"/>
                    <a:gd name="connsiteY2" fmla="*/ 0 h 616959"/>
                    <a:gd name="connsiteX3" fmla="*/ 600075 w 629151"/>
                    <a:gd name="connsiteY3" fmla="*/ 57150 h 616959"/>
                    <a:gd name="connsiteX4" fmla="*/ 57150 w 629151"/>
                    <a:gd name="connsiteY4" fmla="*/ 600075 h 616959"/>
                    <a:gd name="connsiteX0" fmla="*/ 57150 w 629151"/>
                    <a:gd name="connsiteY0" fmla="*/ 600075 h 627132"/>
                    <a:gd name="connsiteX1" fmla="*/ 0 w 629151"/>
                    <a:gd name="connsiteY1" fmla="*/ 600075 h 627132"/>
                    <a:gd name="connsiteX2" fmla="*/ 600075 w 629151"/>
                    <a:gd name="connsiteY2" fmla="*/ 0 h 627132"/>
                    <a:gd name="connsiteX3" fmla="*/ 600075 w 629151"/>
                    <a:gd name="connsiteY3" fmla="*/ 57150 h 627132"/>
                    <a:gd name="connsiteX4" fmla="*/ 57150 w 629151"/>
                    <a:gd name="connsiteY4" fmla="*/ 600075 h 627132"/>
                    <a:gd name="connsiteX0" fmla="*/ 57150 w 629151"/>
                    <a:gd name="connsiteY0" fmla="*/ 600075 h 629252"/>
                    <a:gd name="connsiteX1" fmla="*/ 0 w 629151"/>
                    <a:gd name="connsiteY1" fmla="*/ 600075 h 629252"/>
                    <a:gd name="connsiteX2" fmla="*/ 600075 w 629151"/>
                    <a:gd name="connsiteY2" fmla="*/ 0 h 629252"/>
                    <a:gd name="connsiteX3" fmla="*/ 600075 w 629151"/>
                    <a:gd name="connsiteY3" fmla="*/ 57150 h 629252"/>
                    <a:gd name="connsiteX4" fmla="*/ 57150 w 629151"/>
                    <a:gd name="connsiteY4" fmla="*/ 600075 h 629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9151" h="629252">
                      <a:moveTo>
                        <a:pt x="57150" y="600075"/>
                      </a:moveTo>
                      <a:cubicBezTo>
                        <a:pt x="56707" y="643491"/>
                        <a:pt x="444" y="634188"/>
                        <a:pt x="0" y="600075"/>
                      </a:cubicBezTo>
                      <a:cubicBezTo>
                        <a:pt x="368" y="268816"/>
                        <a:pt x="268816" y="368"/>
                        <a:pt x="600075" y="0"/>
                      </a:cubicBezTo>
                      <a:cubicBezTo>
                        <a:pt x="639615" y="2770"/>
                        <a:pt x="638064" y="57482"/>
                        <a:pt x="600075" y="57150"/>
                      </a:cubicBezTo>
                      <a:cubicBezTo>
                        <a:pt x="300357" y="57465"/>
                        <a:pt x="57465" y="300357"/>
                        <a:pt x="57150" y="6000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</p:grpSp>
      </p:grpSp>
      <p:sp>
        <p:nvSpPr>
          <p:cNvPr id="5" name="Oval 4">
            <a:extLst>
              <a:ext uri="{FF2B5EF4-FFF2-40B4-BE49-F238E27FC236}">
                <a16:creationId xmlns:a16="http://schemas.microsoft.com/office/drawing/2014/main" id="{44F9AC47-3648-4274-BDDF-A9CED244D3A7}"/>
              </a:ext>
            </a:extLst>
          </p:cNvPr>
          <p:cNvSpPr/>
          <p:nvPr/>
        </p:nvSpPr>
        <p:spPr>
          <a:xfrm>
            <a:off x="540304" y="3564593"/>
            <a:ext cx="232707" cy="23270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36000" rtlCol="0" anchor="ctr"/>
          <a:lstStyle/>
          <a:p>
            <a:pPr algn="ctr"/>
            <a:r>
              <a:rPr lang="da-DK" sz="1600" b="1">
                <a:solidFill>
                  <a:schemeClr val="bg1"/>
                </a:solidFill>
              </a:rPr>
              <a:t>§</a:t>
            </a:r>
          </a:p>
        </p:txBody>
      </p:sp>
      <p:sp>
        <p:nvSpPr>
          <p:cNvPr id="91" name="Freeform: Shape 90" descr="Warning with solid fill">
            <a:extLst>
              <a:ext uri="{FF2B5EF4-FFF2-40B4-BE49-F238E27FC236}">
                <a16:creationId xmlns:a16="http://schemas.microsoft.com/office/drawing/2014/main" id="{955E05F0-83E3-420D-B1A6-40021B660184}"/>
              </a:ext>
            </a:extLst>
          </p:cNvPr>
          <p:cNvSpPr/>
          <p:nvPr/>
        </p:nvSpPr>
        <p:spPr>
          <a:xfrm>
            <a:off x="6684484" y="3581361"/>
            <a:ext cx="272391" cy="240111"/>
          </a:xfrm>
          <a:custGeom>
            <a:avLst/>
            <a:gdLst>
              <a:gd name="connsiteX0" fmla="*/ 537627 w 1074008"/>
              <a:gd name="connsiteY0" fmla="*/ 0 h 946730"/>
              <a:gd name="connsiteX1" fmla="*/ 580589 w 1074008"/>
              <a:gd name="connsiteY1" fmla="*/ 25217 h 946730"/>
              <a:gd name="connsiteX2" fmla="*/ 1067497 w 1074008"/>
              <a:gd name="connsiteY2" fmla="*/ 872013 h 946730"/>
              <a:gd name="connsiteX3" fmla="*/ 1023912 w 1074008"/>
              <a:gd name="connsiteY3" fmla="*/ 946730 h 946730"/>
              <a:gd name="connsiteX4" fmla="*/ 537004 w 1074008"/>
              <a:gd name="connsiteY4" fmla="*/ 946730 h 946730"/>
              <a:gd name="connsiteX5" fmla="*/ 50097 w 1074008"/>
              <a:gd name="connsiteY5" fmla="*/ 946730 h 946730"/>
              <a:gd name="connsiteX6" fmla="*/ 6512 w 1074008"/>
              <a:gd name="connsiteY6" fmla="*/ 872013 h 946730"/>
              <a:gd name="connsiteX7" fmla="*/ 494664 w 1074008"/>
              <a:gd name="connsiteY7" fmla="*/ 25217 h 946730"/>
              <a:gd name="connsiteX8" fmla="*/ 537627 w 1074008"/>
              <a:gd name="connsiteY8" fmla="*/ 0 h 946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74008" h="946730">
                <a:moveTo>
                  <a:pt x="537627" y="0"/>
                </a:moveTo>
                <a:cubicBezTo>
                  <a:pt x="554439" y="0"/>
                  <a:pt x="571250" y="8406"/>
                  <a:pt x="580589" y="25217"/>
                </a:cubicBezTo>
                <a:lnTo>
                  <a:pt x="1067497" y="872013"/>
                </a:lnTo>
                <a:cubicBezTo>
                  <a:pt x="1086176" y="905635"/>
                  <a:pt x="1062515" y="946730"/>
                  <a:pt x="1023912" y="946730"/>
                </a:cubicBezTo>
                <a:lnTo>
                  <a:pt x="537004" y="946730"/>
                </a:lnTo>
                <a:lnTo>
                  <a:pt x="50097" y="946730"/>
                </a:lnTo>
                <a:cubicBezTo>
                  <a:pt x="11493" y="946730"/>
                  <a:pt x="-12168" y="905635"/>
                  <a:pt x="6512" y="872013"/>
                </a:cubicBezTo>
                <a:lnTo>
                  <a:pt x="494664" y="25217"/>
                </a:lnTo>
                <a:cubicBezTo>
                  <a:pt x="504004" y="8406"/>
                  <a:pt x="520816" y="0"/>
                  <a:pt x="537627" y="0"/>
                </a:cubicBezTo>
                <a:close/>
              </a:path>
            </a:pathLst>
          </a:custGeom>
          <a:solidFill>
            <a:schemeClr val="accent6"/>
          </a:solidFill>
          <a:ln w="12402" cap="flat">
            <a:noFill/>
            <a:prstDash val="solid"/>
            <a:miter/>
          </a:ln>
        </p:spPr>
        <p:txBody>
          <a:bodyPr wrap="none" lIns="0" tIns="36000" rIns="0" bIns="0" rtlCol="0" anchor="ctr"/>
          <a:lstStyle/>
          <a:p>
            <a:pPr algn="ctr"/>
            <a:r>
              <a:rPr lang="da-DK" sz="1600" b="1">
                <a:solidFill>
                  <a:schemeClr val="bg1"/>
                </a:solidFill>
              </a:rPr>
              <a:t>§</a:t>
            </a: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057C5DD7-0868-49BF-83B1-15FEB6B9A525}"/>
              </a:ext>
            </a:extLst>
          </p:cNvPr>
          <p:cNvSpPr/>
          <p:nvPr/>
        </p:nvSpPr>
        <p:spPr>
          <a:xfrm>
            <a:off x="2245189" y="3969015"/>
            <a:ext cx="700831" cy="1012064"/>
          </a:xfrm>
          <a:custGeom>
            <a:avLst/>
            <a:gdLst>
              <a:gd name="connsiteX0" fmla="*/ 0 w 700831"/>
              <a:gd name="connsiteY0" fmla="*/ 0 h 1012064"/>
              <a:gd name="connsiteX1" fmla="*/ 700831 w 700831"/>
              <a:gd name="connsiteY1" fmla="*/ 402386 h 1012064"/>
              <a:gd name="connsiteX2" fmla="*/ 700831 w 700831"/>
              <a:gd name="connsiteY2" fmla="*/ 1012064 h 1012064"/>
              <a:gd name="connsiteX3" fmla="*/ 0 w 700831"/>
              <a:gd name="connsiteY3" fmla="*/ 609678 h 1012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0831" h="1012064">
                <a:moveTo>
                  <a:pt x="0" y="0"/>
                </a:moveTo>
                <a:lnTo>
                  <a:pt x="700831" y="402386"/>
                </a:lnTo>
                <a:lnTo>
                  <a:pt x="700831" y="1012064"/>
                </a:lnTo>
                <a:lnTo>
                  <a:pt x="0" y="609678"/>
                </a:lnTo>
                <a:close/>
              </a:path>
            </a:pathLst>
          </a:custGeom>
          <a:noFill/>
          <a:ln w="1270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2634338-CA47-47E2-8417-8203E867C2A6}"/>
              </a:ext>
            </a:extLst>
          </p:cNvPr>
          <p:cNvGrpSpPr/>
          <p:nvPr/>
        </p:nvGrpSpPr>
        <p:grpSpPr>
          <a:xfrm>
            <a:off x="9349434" y="4973786"/>
            <a:ext cx="877798" cy="333137"/>
            <a:chOff x="9349434" y="4721560"/>
            <a:chExt cx="877798" cy="333137"/>
          </a:xfrm>
        </p:grpSpPr>
        <p:sp>
          <p:nvSpPr>
            <p:cNvPr id="111" name="Speech Bubble: Rectangle 110">
              <a:extLst>
                <a:ext uri="{FF2B5EF4-FFF2-40B4-BE49-F238E27FC236}">
                  <a16:creationId xmlns:a16="http://schemas.microsoft.com/office/drawing/2014/main" id="{F000AB84-4EB4-4837-8330-3B534412442A}"/>
                </a:ext>
              </a:extLst>
            </p:cNvPr>
            <p:cNvSpPr/>
            <p:nvPr/>
          </p:nvSpPr>
          <p:spPr>
            <a:xfrm>
              <a:off x="9349434" y="4721560"/>
              <a:ext cx="877798" cy="333137"/>
            </a:xfrm>
            <a:prstGeom prst="wedgeRectCallout">
              <a:avLst>
                <a:gd name="adj1" fmla="val -83328"/>
                <a:gd name="adj2" fmla="val -43377"/>
              </a:avLst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a-DK" sz="800">
                  <a:solidFill>
                    <a:schemeClr val="bg1">
                      <a:lumMod val="50000"/>
                    </a:schemeClr>
                  </a:solidFill>
                </a:rPr>
                <a:t>Radiator</a:t>
              </a:r>
            </a:p>
            <a:p>
              <a:r>
                <a:rPr lang="da-DK" sz="800">
                  <a:solidFill>
                    <a:schemeClr val="bg1">
                      <a:lumMod val="50000"/>
                    </a:schemeClr>
                  </a:solidFill>
                </a:rPr>
                <a:t>foran vindue</a:t>
              </a:r>
            </a:p>
          </p:txBody>
        </p:sp>
        <p:pic>
          <p:nvPicPr>
            <p:cNvPr id="112" name="Graphic 111" descr="Warning with solid fill">
              <a:extLst>
                <a:ext uri="{FF2B5EF4-FFF2-40B4-BE49-F238E27FC236}">
                  <a16:creationId xmlns:a16="http://schemas.microsoft.com/office/drawing/2014/main" id="{F061D0AD-1FFA-4694-9DE3-A0D32AA8BF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023607" y="4786029"/>
              <a:ext cx="203625" cy="2036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150700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424814-49FC-473D-BDD9-555CA7E25D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Håndtering af designændring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B73F52D-9DDB-4D2B-8A96-4BEBAB0CC483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AD9879-979E-4715-BC1D-5138182D3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5</a:t>
            </a:fld>
            <a:endParaRPr lang="da-DK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459DA3E-93BC-4066-9CFC-ACEEF8EEAA5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0" name="Picture 89">
            <a:extLst>
              <a:ext uri="{FF2B5EF4-FFF2-40B4-BE49-F238E27FC236}">
                <a16:creationId xmlns:a16="http://schemas.microsoft.com/office/drawing/2014/main" id="{EB0C17AB-64E0-4549-8177-ACA6873C60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2513" y="1511299"/>
            <a:ext cx="6019987" cy="5304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400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3CE60F7-18AD-42BF-8436-5D3EE23A4C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6AEB17E-742C-451C-AFB2-CD32ED39FA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LBS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projektstyring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B462006-6B15-464D-86C9-9DDA31EDE10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F430DFC-BB1A-49C9-B89B-E751475354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863BDF9-54D4-4F6C-9E8D-750ABBC31B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E0761C-B42E-4D8D-8F09-090A1A5059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29E45C-AB27-41CD-89E1-0E134DD41F8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4927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extBox 62">
            <a:extLst>
              <a:ext uri="{FF2B5EF4-FFF2-40B4-BE49-F238E27FC236}">
                <a16:creationId xmlns:a16="http://schemas.microsoft.com/office/drawing/2014/main" id="{0D26CB78-35E3-4A0B-9AA2-705B15C4F643}"/>
              </a:ext>
            </a:extLst>
          </p:cNvPr>
          <p:cNvSpPr txBox="1"/>
          <p:nvPr/>
        </p:nvSpPr>
        <p:spPr>
          <a:xfrm>
            <a:off x="4649659" y="1621266"/>
            <a:ext cx="4020279" cy="2338179"/>
          </a:xfrm>
          <a:prstGeom prst="roundRect">
            <a:avLst>
              <a:gd name="adj" fmla="val 9646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b="1" dirty="0"/>
              <a:t>Tid og Økonomistyring</a:t>
            </a:r>
          </a:p>
        </p:txBody>
      </p:sp>
      <p:pic>
        <p:nvPicPr>
          <p:cNvPr id="99" name="Picture 98">
            <a:extLst>
              <a:ext uri="{FF2B5EF4-FFF2-40B4-BE49-F238E27FC236}">
                <a16:creationId xmlns:a16="http://schemas.microsoft.com/office/drawing/2014/main" id="{A6D8B18E-F8A3-4E89-8B9F-DF206F8A4D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924673" y="658800"/>
            <a:ext cx="1559269" cy="1002910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6AB44EE0-0C48-4C76-9DB4-8B3183A52249}"/>
              </a:ext>
            </a:extLst>
          </p:cNvPr>
          <p:cNvSpPr txBox="1"/>
          <p:nvPr/>
        </p:nvSpPr>
        <p:spPr>
          <a:xfrm>
            <a:off x="7902531" y="4210892"/>
            <a:ext cx="4020279" cy="2351672"/>
          </a:xfrm>
          <a:prstGeom prst="roundRect">
            <a:avLst>
              <a:gd name="adj" fmla="val 9646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b="1" dirty="0"/>
              <a:t>Aktivitet: </a:t>
            </a:r>
            <a:r>
              <a:rPr lang="da-DK" dirty="0"/>
              <a:t>Byg en pladsstøbt væg</a:t>
            </a:r>
          </a:p>
        </p:txBody>
      </p:sp>
      <p:sp>
        <p:nvSpPr>
          <p:cNvPr id="37" name="Flowchart: Data 36">
            <a:extLst>
              <a:ext uri="{FF2B5EF4-FFF2-40B4-BE49-F238E27FC236}">
                <a16:creationId xmlns:a16="http://schemas.microsoft.com/office/drawing/2014/main" id="{4EC01F59-9022-44BD-B9F2-3A35590DA56E}"/>
              </a:ext>
            </a:extLst>
          </p:cNvPr>
          <p:cNvSpPr/>
          <p:nvPr/>
        </p:nvSpPr>
        <p:spPr>
          <a:xfrm>
            <a:off x="-4472455" y="4659474"/>
            <a:ext cx="8031179" cy="1706463"/>
          </a:xfrm>
          <a:prstGeom prst="flowChartInputOutput">
            <a:avLst/>
          </a:prstGeom>
          <a:solidFill>
            <a:schemeClr val="bg2">
              <a:lumMod val="90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8" name="Flowchart: Data 37">
            <a:extLst>
              <a:ext uri="{FF2B5EF4-FFF2-40B4-BE49-F238E27FC236}">
                <a16:creationId xmlns:a16="http://schemas.microsoft.com/office/drawing/2014/main" id="{111BE370-250E-42A9-9CDF-C7E2DDA6ADC7}"/>
              </a:ext>
            </a:extLst>
          </p:cNvPr>
          <p:cNvSpPr/>
          <p:nvPr/>
        </p:nvSpPr>
        <p:spPr>
          <a:xfrm rot="10800000">
            <a:off x="-3741569" y="2950903"/>
            <a:ext cx="8183999" cy="1706460"/>
          </a:xfrm>
          <a:prstGeom prst="flowChartInputOutput">
            <a:avLst/>
          </a:prstGeom>
          <a:solidFill>
            <a:schemeClr val="accent4">
              <a:lumMod val="60000"/>
              <a:lumOff val="40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4970ED8-16AB-4650-A8FC-9A502F0FC2B4}"/>
              </a:ext>
            </a:extLst>
          </p:cNvPr>
          <p:cNvSpPr txBox="1"/>
          <p:nvPr/>
        </p:nvSpPr>
        <p:spPr>
          <a:xfrm>
            <a:off x="1796039" y="3969083"/>
            <a:ext cx="129931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000" b="1" dirty="0">
                <a:solidFill>
                  <a:srgbClr val="2D657D"/>
                </a:solidFill>
              </a:rPr>
              <a:t>Lokation B0</a:t>
            </a:r>
            <a:endParaRPr lang="en-US" sz="2000" b="1" dirty="0" err="1">
              <a:solidFill>
                <a:srgbClr val="2D657D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7673121-446D-4CEB-87C6-100285A22802}"/>
              </a:ext>
            </a:extLst>
          </p:cNvPr>
          <p:cNvSpPr txBox="1"/>
          <p:nvPr/>
        </p:nvSpPr>
        <p:spPr>
          <a:xfrm>
            <a:off x="1019447" y="5689180"/>
            <a:ext cx="129931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000" b="1" dirty="0">
                <a:solidFill>
                  <a:schemeClr val="accent6">
                    <a:lumMod val="75000"/>
                  </a:schemeClr>
                </a:solidFill>
              </a:rPr>
              <a:t>Lokation A0</a:t>
            </a:r>
            <a:endParaRPr lang="en-US" sz="2000" b="1" dirty="0" err="1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1C25615-EC41-47A5-A556-AE8B92CBEE74}"/>
              </a:ext>
            </a:extLst>
          </p:cNvPr>
          <p:cNvSpPr txBox="1"/>
          <p:nvPr/>
        </p:nvSpPr>
        <p:spPr>
          <a:xfrm>
            <a:off x="9076346" y="1607773"/>
            <a:ext cx="3618574" cy="2351672"/>
          </a:xfrm>
          <a:prstGeom prst="roundRect">
            <a:avLst>
              <a:gd name="adj" fmla="val 9646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b="1" dirty="0"/>
              <a:t>Subaktivitet: </a:t>
            </a:r>
            <a:r>
              <a:rPr lang="da-DK" dirty="0" err="1"/>
              <a:t>Betonudstøbning</a:t>
            </a:r>
            <a:endParaRPr lang="en-US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5A7B4B4-9CED-4AC3-99F4-2A9252387D66}"/>
              </a:ext>
            </a:extLst>
          </p:cNvPr>
          <p:cNvSpPr txBox="1"/>
          <p:nvPr/>
        </p:nvSpPr>
        <p:spPr>
          <a:xfrm>
            <a:off x="3725550" y="4210892"/>
            <a:ext cx="4020279" cy="2351672"/>
          </a:xfrm>
          <a:prstGeom prst="roundRect">
            <a:avLst>
              <a:gd name="adj" fmla="val 9646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b="1" dirty="0"/>
              <a:t>Bygningsdel Typer i </a:t>
            </a:r>
            <a:r>
              <a:rPr lang="da-DK" b="1" dirty="0" err="1"/>
              <a:t>arbejsområde</a:t>
            </a:r>
            <a:r>
              <a:rPr lang="da-DK" b="1" dirty="0"/>
              <a:t> B0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400" dirty="0"/>
              <a:t>Mængdebaseret planlægning</a:t>
            </a:r>
            <a:endParaRPr lang="en-US" dirty="0"/>
          </a:p>
        </p:txBody>
      </p:sp>
      <p:sp>
        <p:nvSpPr>
          <p:cNvPr id="21" name="Cube 20">
            <a:extLst>
              <a:ext uri="{FF2B5EF4-FFF2-40B4-BE49-F238E27FC236}">
                <a16:creationId xmlns:a16="http://schemas.microsoft.com/office/drawing/2014/main" id="{86CA1206-EDF7-440A-A7F4-924AFF24F3AD}"/>
              </a:ext>
            </a:extLst>
          </p:cNvPr>
          <p:cNvSpPr/>
          <p:nvPr/>
        </p:nvSpPr>
        <p:spPr>
          <a:xfrm>
            <a:off x="-1701514" y="4601387"/>
            <a:ext cx="4020278" cy="1010653"/>
          </a:xfrm>
          <a:prstGeom prst="cube">
            <a:avLst>
              <a:gd name="adj" fmla="val 78263"/>
            </a:avLst>
          </a:prstGeom>
          <a:solidFill>
            <a:srgbClr val="FFFFC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2" name="Cube 21">
            <a:extLst>
              <a:ext uri="{FF2B5EF4-FFF2-40B4-BE49-F238E27FC236}">
                <a16:creationId xmlns:a16="http://schemas.microsoft.com/office/drawing/2014/main" id="{A18E2AF8-A3EB-4741-84B0-FE09E2AD9773}"/>
              </a:ext>
            </a:extLst>
          </p:cNvPr>
          <p:cNvSpPr/>
          <p:nvPr/>
        </p:nvSpPr>
        <p:spPr>
          <a:xfrm>
            <a:off x="128665" y="4020443"/>
            <a:ext cx="1426484" cy="631900"/>
          </a:xfrm>
          <a:prstGeom prst="cube">
            <a:avLst>
              <a:gd name="adj" fmla="val 6076"/>
            </a:avLst>
          </a:prstGeom>
          <a:solidFill>
            <a:srgbClr val="D3F1D8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3" name="Cube 22">
            <a:extLst>
              <a:ext uri="{FF2B5EF4-FFF2-40B4-BE49-F238E27FC236}">
                <a16:creationId xmlns:a16="http://schemas.microsoft.com/office/drawing/2014/main" id="{B7F210FF-661D-41D7-863F-3015FC482900}"/>
              </a:ext>
            </a:extLst>
          </p:cNvPr>
          <p:cNvSpPr/>
          <p:nvPr/>
        </p:nvSpPr>
        <p:spPr>
          <a:xfrm>
            <a:off x="-367399" y="2948792"/>
            <a:ext cx="4020278" cy="1010653"/>
          </a:xfrm>
          <a:prstGeom prst="cube">
            <a:avLst>
              <a:gd name="adj" fmla="val 90829"/>
            </a:avLst>
          </a:prstGeom>
          <a:solidFill>
            <a:srgbClr val="FFFFC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6" name="Cylinder 5">
            <a:extLst>
              <a:ext uri="{FF2B5EF4-FFF2-40B4-BE49-F238E27FC236}">
                <a16:creationId xmlns:a16="http://schemas.microsoft.com/office/drawing/2014/main" id="{95F7563A-343F-40D4-B222-A6E1FCCCC8F1}"/>
              </a:ext>
            </a:extLst>
          </p:cNvPr>
          <p:cNvSpPr/>
          <p:nvPr/>
        </p:nvSpPr>
        <p:spPr>
          <a:xfrm>
            <a:off x="269190" y="4397466"/>
            <a:ext cx="202299" cy="709247"/>
          </a:xfrm>
          <a:prstGeom prst="can">
            <a:avLst/>
          </a:prstGeom>
          <a:solidFill>
            <a:srgbClr val="DDEE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6" name="Cylinder 25">
            <a:extLst>
              <a:ext uri="{FF2B5EF4-FFF2-40B4-BE49-F238E27FC236}">
                <a16:creationId xmlns:a16="http://schemas.microsoft.com/office/drawing/2014/main" id="{48D3F303-EE9A-4A19-AB56-37107865DF91}"/>
              </a:ext>
            </a:extLst>
          </p:cNvPr>
          <p:cNvSpPr/>
          <p:nvPr/>
        </p:nvSpPr>
        <p:spPr>
          <a:xfrm>
            <a:off x="990319" y="4510703"/>
            <a:ext cx="430832" cy="761383"/>
          </a:xfrm>
          <a:prstGeom prst="can">
            <a:avLst/>
          </a:prstGeom>
          <a:solidFill>
            <a:srgbClr val="DDEE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9" name="Cube 28">
            <a:extLst>
              <a:ext uri="{FF2B5EF4-FFF2-40B4-BE49-F238E27FC236}">
                <a16:creationId xmlns:a16="http://schemas.microsoft.com/office/drawing/2014/main" id="{EF712BBA-8D47-4F64-8B4C-7AC590FF1ACD}"/>
              </a:ext>
            </a:extLst>
          </p:cNvPr>
          <p:cNvSpPr/>
          <p:nvPr/>
        </p:nvSpPr>
        <p:spPr>
          <a:xfrm>
            <a:off x="892346" y="2370752"/>
            <a:ext cx="447026" cy="858369"/>
          </a:xfrm>
          <a:prstGeom prst="cube">
            <a:avLst>
              <a:gd name="adj" fmla="val 59059"/>
            </a:avLst>
          </a:prstGeom>
          <a:solidFill>
            <a:srgbClr val="D3F1D8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5" name="Cube 24">
            <a:extLst>
              <a:ext uri="{FF2B5EF4-FFF2-40B4-BE49-F238E27FC236}">
                <a16:creationId xmlns:a16="http://schemas.microsoft.com/office/drawing/2014/main" id="{B6AC62F7-F85D-4795-9844-1AC4ABC68362}"/>
              </a:ext>
            </a:extLst>
          </p:cNvPr>
          <p:cNvSpPr/>
          <p:nvPr/>
        </p:nvSpPr>
        <p:spPr>
          <a:xfrm>
            <a:off x="1299916" y="2370752"/>
            <a:ext cx="1426484" cy="631900"/>
          </a:xfrm>
          <a:prstGeom prst="cube">
            <a:avLst>
              <a:gd name="adj" fmla="val 6076"/>
            </a:avLst>
          </a:prstGeom>
          <a:solidFill>
            <a:srgbClr val="D3F1D8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7" name="Cylinder 26">
            <a:extLst>
              <a:ext uri="{FF2B5EF4-FFF2-40B4-BE49-F238E27FC236}">
                <a16:creationId xmlns:a16="http://schemas.microsoft.com/office/drawing/2014/main" id="{90AA5374-9AB0-4AF8-B3A0-25010E0AD31D}"/>
              </a:ext>
            </a:extLst>
          </p:cNvPr>
          <p:cNvSpPr/>
          <p:nvPr/>
        </p:nvSpPr>
        <p:spPr>
          <a:xfrm>
            <a:off x="2137833" y="2868744"/>
            <a:ext cx="202299" cy="587902"/>
          </a:xfrm>
          <a:prstGeom prst="can">
            <a:avLst/>
          </a:prstGeom>
          <a:solidFill>
            <a:srgbClr val="DDEE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8" name="Cube 27">
            <a:extLst>
              <a:ext uri="{FF2B5EF4-FFF2-40B4-BE49-F238E27FC236}">
                <a16:creationId xmlns:a16="http://schemas.microsoft.com/office/drawing/2014/main" id="{89FA3D94-1C9E-49AF-8AB1-276821D97A62}"/>
              </a:ext>
            </a:extLst>
          </p:cNvPr>
          <p:cNvSpPr/>
          <p:nvPr/>
        </p:nvSpPr>
        <p:spPr>
          <a:xfrm>
            <a:off x="2137833" y="2408913"/>
            <a:ext cx="550333" cy="488743"/>
          </a:xfrm>
          <a:prstGeom prst="cube">
            <a:avLst>
              <a:gd name="adj" fmla="val 76557"/>
            </a:avLst>
          </a:prstGeom>
          <a:solidFill>
            <a:srgbClr val="FFB3B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2" name="Arc 31">
            <a:extLst>
              <a:ext uri="{FF2B5EF4-FFF2-40B4-BE49-F238E27FC236}">
                <a16:creationId xmlns:a16="http://schemas.microsoft.com/office/drawing/2014/main" id="{DC8090FD-219C-467A-99CD-8F68A9317407}"/>
              </a:ext>
            </a:extLst>
          </p:cNvPr>
          <p:cNvSpPr/>
          <p:nvPr/>
        </p:nvSpPr>
        <p:spPr>
          <a:xfrm rot="13378176" flipH="1">
            <a:off x="1155902" y="3256628"/>
            <a:ext cx="4234770" cy="2073965"/>
          </a:xfrm>
          <a:prstGeom prst="arc">
            <a:avLst>
              <a:gd name="adj1" fmla="val 10752206"/>
              <a:gd name="adj2" fmla="val 19952472"/>
            </a:avLst>
          </a:prstGeom>
          <a:ln w="28575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1394CD3-67EA-4640-A409-56DDB9674CD5}"/>
              </a:ext>
            </a:extLst>
          </p:cNvPr>
          <p:cNvSpPr txBox="1"/>
          <p:nvPr/>
        </p:nvSpPr>
        <p:spPr>
          <a:xfrm>
            <a:off x="3897197" y="4671653"/>
            <a:ext cx="1109032" cy="819603"/>
          </a:xfrm>
          <a:prstGeom prst="roundRect">
            <a:avLst/>
          </a:prstGeom>
          <a:solidFill>
            <a:srgbClr val="DDEEFF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sz="1000" b="1" dirty="0"/>
              <a:t>Søjleelementer</a:t>
            </a:r>
          </a:p>
          <a:p>
            <a:r>
              <a:rPr lang="da-DK" sz="1000" dirty="0"/>
              <a:t>1 Stk.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8A39023-1E2C-4098-B024-4A4112AABA8A}"/>
              </a:ext>
            </a:extLst>
          </p:cNvPr>
          <p:cNvSpPr txBox="1"/>
          <p:nvPr/>
        </p:nvSpPr>
        <p:spPr>
          <a:xfrm>
            <a:off x="5131615" y="4670030"/>
            <a:ext cx="1109032" cy="819603"/>
          </a:xfrm>
          <a:prstGeom prst="roundRect">
            <a:avLst/>
          </a:prstGeom>
          <a:solidFill>
            <a:srgbClr val="FFFFCC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sz="1000" b="1" dirty="0" err="1"/>
              <a:t>Insitu</a:t>
            </a:r>
            <a:r>
              <a:rPr lang="da-DK" sz="1000" b="1" dirty="0"/>
              <a:t> Dæk</a:t>
            </a:r>
          </a:p>
          <a:p>
            <a:r>
              <a:rPr lang="da-DK" sz="1000" dirty="0"/>
              <a:t>2 Stk.</a:t>
            </a:r>
            <a:endParaRPr lang="da-DK" sz="1000" b="1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5A03ABB-FE1A-4703-B5DD-1F6EB4CF506F}"/>
              </a:ext>
            </a:extLst>
          </p:cNvPr>
          <p:cNvSpPr txBox="1"/>
          <p:nvPr/>
        </p:nvSpPr>
        <p:spPr>
          <a:xfrm>
            <a:off x="5131614" y="5613498"/>
            <a:ext cx="1109032" cy="819603"/>
          </a:xfrm>
          <a:prstGeom prst="roundRect">
            <a:avLst/>
          </a:prstGeom>
          <a:solidFill>
            <a:srgbClr val="FFD5D5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sz="1000" b="1" dirty="0"/>
              <a:t>Bjælkeelementer</a:t>
            </a:r>
          </a:p>
          <a:p>
            <a:r>
              <a:rPr lang="da-DK" sz="1000" dirty="0"/>
              <a:t>1 Stk.</a:t>
            </a:r>
            <a:endParaRPr lang="da-DK" sz="1000" b="1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7C3B731-8068-43AD-8F9D-AE5F1CFCDFA9}"/>
              </a:ext>
            </a:extLst>
          </p:cNvPr>
          <p:cNvSpPr txBox="1"/>
          <p:nvPr/>
        </p:nvSpPr>
        <p:spPr>
          <a:xfrm>
            <a:off x="3897197" y="5621919"/>
            <a:ext cx="1109032" cy="819603"/>
          </a:xfrm>
          <a:prstGeom prst="roundRect">
            <a:avLst/>
          </a:prstGeom>
          <a:solidFill>
            <a:srgbClr val="D3F1D8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sz="1000" b="1" dirty="0" err="1"/>
              <a:t>Insitu</a:t>
            </a:r>
            <a:r>
              <a:rPr lang="da-DK" sz="1000" b="1" dirty="0"/>
              <a:t> Væg</a:t>
            </a:r>
          </a:p>
          <a:p>
            <a:r>
              <a:rPr lang="da-DK" sz="1000" dirty="0"/>
              <a:t>2 Stk., 50m2</a:t>
            </a:r>
            <a:endParaRPr lang="da-DK" sz="1000" b="1" dirty="0"/>
          </a:p>
        </p:txBody>
      </p:sp>
      <p:sp>
        <p:nvSpPr>
          <p:cNvPr id="58" name="Arc 57">
            <a:extLst>
              <a:ext uri="{FF2B5EF4-FFF2-40B4-BE49-F238E27FC236}">
                <a16:creationId xmlns:a16="http://schemas.microsoft.com/office/drawing/2014/main" id="{35219B26-5342-4FEB-A282-21550208849E}"/>
              </a:ext>
            </a:extLst>
          </p:cNvPr>
          <p:cNvSpPr/>
          <p:nvPr/>
        </p:nvSpPr>
        <p:spPr>
          <a:xfrm rot="10482699" flipH="1">
            <a:off x="3976096" y="3443789"/>
            <a:ext cx="2986823" cy="3081483"/>
          </a:xfrm>
          <a:prstGeom prst="arc">
            <a:avLst>
              <a:gd name="adj1" fmla="val 14343044"/>
              <a:gd name="adj2" fmla="val 18724551"/>
            </a:avLst>
          </a:prstGeom>
          <a:ln w="28575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C6E039B-7009-4781-ACD7-6758CD44CF86}"/>
              </a:ext>
            </a:extLst>
          </p:cNvPr>
          <p:cNvSpPr txBox="1"/>
          <p:nvPr/>
        </p:nvSpPr>
        <p:spPr>
          <a:xfrm>
            <a:off x="-549888" y="1953945"/>
            <a:ext cx="4020279" cy="4608620"/>
          </a:xfrm>
          <a:prstGeom prst="roundRect">
            <a:avLst>
              <a:gd name="adj" fmla="val 7435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da-DK" b="1" dirty="0"/>
              <a:t>Bygningsde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CC5DD69-3047-4507-9203-35A0DADFDC82}"/>
              </a:ext>
            </a:extLst>
          </p:cNvPr>
          <p:cNvGrpSpPr/>
          <p:nvPr/>
        </p:nvGrpSpPr>
        <p:grpSpPr>
          <a:xfrm>
            <a:off x="9850218" y="4691357"/>
            <a:ext cx="1095230" cy="798276"/>
            <a:chOff x="7845837" y="3219150"/>
            <a:chExt cx="4441367" cy="2870262"/>
          </a:xfrm>
        </p:grpSpPr>
        <p:sp>
          <p:nvSpPr>
            <p:cNvPr id="42" name="Cube 41">
              <a:extLst>
                <a:ext uri="{FF2B5EF4-FFF2-40B4-BE49-F238E27FC236}">
                  <a16:creationId xmlns:a16="http://schemas.microsoft.com/office/drawing/2014/main" id="{3CDA66C1-AB98-4A0C-BC84-ED8183B2A603}"/>
                </a:ext>
              </a:extLst>
            </p:cNvPr>
            <p:cNvSpPr/>
            <p:nvPr/>
          </p:nvSpPr>
          <p:spPr>
            <a:xfrm>
              <a:off x="8890174" y="4416914"/>
              <a:ext cx="821474" cy="876503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43" name="Picture 42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D6C11E90-4990-4234-871C-898A73C962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965"/>
            <a:stretch/>
          </p:blipFill>
          <p:spPr>
            <a:xfrm flipH="1">
              <a:off x="7845837" y="3219150"/>
              <a:ext cx="4441367" cy="2870262"/>
            </a:xfrm>
            <a:prstGeom prst="rect">
              <a:avLst/>
            </a:prstGeom>
          </p:spPr>
        </p:pic>
        <p:sp>
          <p:nvSpPr>
            <p:cNvPr id="45" name="Cube 44">
              <a:extLst>
                <a:ext uri="{FF2B5EF4-FFF2-40B4-BE49-F238E27FC236}">
                  <a16:creationId xmlns:a16="http://schemas.microsoft.com/office/drawing/2014/main" id="{BBE424DC-F123-4750-8581-056F5DADDFBB}"/>
                </a:ext>
              </a:extLst>
            </p:cNvPr>
            <p:cNvSpPr/>
            <p:nvPr/>
          </p:nvSpPr>
          <p:spPr>
            <a:xfrm>
              <a:off x="8890174" y="5027409"/>
              <a:ext cx="797055" cy="60325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46" name="Cube 45">
              <a:extLst>
                <a:ext uri="{FF2B5EF4-FFF2-40B4-BE49-F238E27FC236}">
                  <a16:creationId xmlns:a16="http://schemas.microsoft.com/office/drawing/2014/main" id="{47A1870E-81FD-4B5B-A831-4F5D04605019}"/>
                </a:ext>
              </a:extLst>
            </p:cNvPr>
            <p:cNvSpPr/>
            <p:nvPr/>
          </p:nvSpPr>
          <p:spPr>
            <a:xfrm>
              <a:off x="8890173" y="4722527"/>
              <a:ext cx="797056" cy="45719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53" name="Cube 52">
              <a:extLst>
                <a:ext uri="{FF2B5EF4-FFF2-40B4-BE49-F238E27FC236}">
                  <a16:creationId xmlns:a16="http://schemas.microsoft.com/office/drawing/2014/main" id="{B945BD71-39F4-452C-94C1-77DF4B375666}"/>
                </a:ext>
              </a:extLst>
            </p:cNvPr>
            <p:cNvSpPr/>
            <p:nvPr/>
          </p:nvSpPr>
          <p:spPr>
            <a:xfrm rot="5400000">
              <a:off x="8853722" y="4844391"/>
              <a:ext cx="843443" cy="54613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8AD0A258-A932-43C6-A317-9ADB612418FE}"/>
              </a:ext>
            </a:extLst>
          </p:cNvPr>
          <p:cNvSpPr/>
          <p:nvPr/>
        </p:nvSpPr>
        <p:spPr>
          <a:xfrm>
            <a:off x="1574659" y="2519097"/>
            <a:ext cx="441146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700" dirty="0"/>
              <a:t>Væg 1</a:t>
            </a:r>
            <a:endParaRPr lang="en-US" sz="7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F32E3D4-7CDE-44FA-9C9B-5288B09B1220}"/>
              </a:ext>
            </a:extLst>
          </p:cNvPr>
          <p:cNvGrpSpPr/>
          <p:nvPr/>
        </p:nvGrpSpPr>
        <p:grpSpPr>
          <a:xfrm>
            <a:off x="9118211" y="5254281"/>
            <a:ext cx="202573" cy="243773"/>
            <a:chOff x="8669938" y="4877193"/>
            <a:chExt cx="202573" cy="243773"/>
          </a:xfrm>
        </p:grpSpPr>
        <p:sp>
          <p:nvSpPr>
            <p:cNvPr id="69" name="Cube 68">
              <a:extLst>
                <a:ext uri="{FF2B5EF4-FFF2-40B4-BE49-F238E27FC236}">
                  <a16:creationId xmlns:a16="http://schemas.microsoft.com/office/drawing/2014/main" id="{EBF191C2-9903-4C2F-91F7-007B71572AF5}"/>
                </a:ext>
              </a:extLst>
            </p:cNvPr>
            <p:cNvSpPr/>
            <p:nvPr/>
          </p:nvSpPr>
          <p:spPr>
            <a:xfrm>
              <a:off x="8669938" y="4877193"/>
              <a:ext cx="202573" cy="243773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6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71" name="Cube 70">
              <a:extLst>
                <a:ext uri="{FF2B5EF4-FFF2-40B4-BE49-F238E27FC236}">
                  <a16:creationId xmlns:a16="http://schemas.microsoft.com/office/drawing/2014/main" id="{6D592C2E-BD3B-4F16-8C11-CDEDC3131AF6}"/>
                </a:ext>
              </a:extLst>
            </p:cNvPr>
            <p:cNvSpPr/>
            <p:nvPr/>
          </p:nvSpPr>
          <p:spPr>
            <a:xfrm>
              <a:off x="8669938" y="5046983"/>
              <a:ext cx="196552" cy="16778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72" name="Cube 71">
              <a:extLst>
                <a:ext uri="{FF2B5EF4-FFF2-40B4-BE49-F238E27FC236}">
                  <a16:creationId xmlns:a16="http://schemas.microsoft.com/office/drawing/2014/main" id="{D40DA859-96CB-4D4F-981B-ACE10FAA9F69}"/>
                </a:ext>
              </a:extLst>
            </p:cNvPr>
            <p:cNvSpPr/>
            <p:nvPr/>
          </p:nvSpPr>
          <p:spPr>
            <a:xfrm>
              <a:off x="8669938" y="4962190"/>
              <a:ext cx="196552" cy="12715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73" name="Cube 72">
              <a:extLst>
                <a:ext uri="{FF2B5EF4-FFF2-40B4-BE49-F238E27FC236}">
                  <a16:creationId xmlns:a16="http://schemas.microsoft.com/office/drawing/2014/main" id="{E1C63881-F4DB-4865-9E7C-B27A58000315}"/>
                </a:ext>
              </a:extLst>
            </p:cNvPr>
            <p:cNvSpPr/>
            <p:nvPr/>
          </p:nvSpPr>
          <p:spPr>
            <a:xfrm rot="5400000">
              <a:off x="8647655" y="4996943"/>
              <a:ext cx="234578" cy="13467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6804E433-A837-41A7-9B2C-2B73319AE63D}"/>
              </a:ext>
            </a:extLst>
          </p:cNvPr>
          <p:cNvSpPr txBox="1"/>
          <p:nvPr/>
        </p:nvSpPr>
        <p:spPr>
          <a:xfrm>
            <a:off x="7985707" y="5242230"/>
            <a:ext cx="104441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Forskalling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1EA7D0A-9FBE-417D-9E65-E027A19708D2}"/>
              </a:ext>
            </a:extLst>
          </p:cNvPr>
          <p:cNvSpPr txBox="1"/>
          <p:nvPr/>
        </p:nvSpPr>
        <p:spPr>
          <a:xfrm>
            <a:off x="7979551" y="4923345"/>
            <a:ext cx="104441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Armering</a:t>
            </a:r>
          </a:p>
        </p:txBody>
      </p:sp>
      <p:sp>
        <p:nvSpPr>
          <p:cNvPr id="79" name="Cube 78">
            <a:extLst>
              <a:ext uri="{FF2B5EF4-FFF2-40B4-BE49-F238E27FC236}">
                <a16:creationId xmlns:a16="http://schemas.microsoft.com/office/drawing/2014/main" id="{F4F78ED6-337F-4B25-A708-C2E8C8905511}"/>
              </a:ext>
            </a:extLst>
          </p:cNvPr>
          <p:cNvSpPr/>
          <p:nvPr/>
        </p:nvSpPr>
        <p:spPr>
          <a:xfrm>
            <a:off x="9113435" y="5582610"/>
            <a:ext cx="450325" cy="223850"/>
          </a:xfrm>
          <a:prstGeom prst="cube">
            <a:avLst>
              <a:gd name="adj" fmla="val 6076"/>
            </a:avLst>
          </a:prstGeom>
          <a:solidFill>
            <a:srgbClr val="D3F1D8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D7F9F899-3909-4BE3-B943-B0B7580915FB}"/>
              </a:ext>
            </a:extLst>
          </p:cNvPr>
          <p:cNvSpPr txBox="1"/>
          <p:nvPr/>
        </p:nvSpPr>
        <p:spPr>
          <a:xfrm>
            <a:off x="8000988" y="5569155"/>
            <a:ext cx="104441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Beton</a:t>
            </a:r>
          </a:p>
        </p:txBody>
      </p:sp>
      <p:sp>
        <p:nvSpPr>
          <p:cNvPr id="81" name="Cube 80">
            <a:extLst>
              <a:ext uri="{FF2B5EF4-FFF2-40B4-BE49-F238E27FC236}">
                <a16:creationId xmlns:a16="http://schemas.microsoft.com/office/drawing/2014/main" id="{A20A91B4-147D-4CC3-85F8-35B7F4C2FBD2}"/>
              </a:ext>
            </a:extLst>
          </p:cNvPr>
          <p:cNvSpPr/>
          <p:nvPr/>
        </p:nvSpPr>
        <p:spPr>
          <a:xfrm>
            <a:off x="9111014" y="4937601"/>
            <a:ext cx="450325" cy="223850"/>
          </a:xfrm>
          <a:prstGeom prst="cube">
            <a:avLst>
              <a:gd name="adj" fmla="val 6076"/>
            </a:avLst>
          </a:prstGeom>
          <a:pattFill prst="smGrid">
            <a:fgClr>
              <a:schemeClr val="bg1">
                <a:lumMod val="50000"/>
              </a:schemeClr>
            </a:fgClr>
            <a:bgClr>
              <a:srgbClr val="DCD5CF"/>
            </a:bgClr>
          </a:patt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685DE81D-CDAD-4912-BDB0-BE42E3A75205}"/>
              </a:ext>
            </a:extLst>
          </p:cNvPr>
          <p:cNvGrpSpPr/>
          <p:nvPr/>
        </p:nvGrpSpPr>
        <p:grpSpPr>
          <a:xfrm>
            <a:off x="9343997" y="5254280"/>
            <a:ext cx="202573" cy="243773"/>
            <a:chOff x="8669938" y="4877193"/>
            <a:chExt cx="202573" cy="243773"/>
          </a:xfrm>
        </p:grpSpPr>
        <p:sp>
          <p:nvSpPr>
            <p:cNvPr id="83" name="Cube 82">
              <a:extLst>
                <a:ext uri="{FF2B5EF4-FFF2-40B4-BE49-F238E27FC236}">
                  <a16:creationId xmlns:a16="http://schemas.microsoft.com/office/drawing/2014/main" id="{22A74675-75CC-4B09-BE1D-660292EF5377}"/>
                </a:ext>
              </a:extLst>
            </p:cNvPr>
            <p:cNvSpPr/>
            <p:nvPr/>
          </p:nvSpPr>
          <p:spPr>
            <a:xfrm>
              <a:off x="8669938" y="4877193"/>
              <a:ext cx="202573" cy="243773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6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84" name="Cube 83">
              <a:extLst>
                <a:ext uri="{FF2B5EF4-FFF2-40B4-BE49-F238E27FC236}">
                  <a16:creationId xmlns:a16="http://schemas.microsoft.com/office/drawing/2014/main" id="{0216575A-93FF-4B73-969B-1E5A34FFC7A0}"/>
                </a:ext>
              </a:extLst>
            </p:cNvPr>
            <p:cNvSpPr/>
            <p:nvPr/>
          </p:nvSpPr>
          <p:spPr>
            <a:xfrm>
              <a:off x="8669938" y="5046983"/>
              <a:ext cx="196552" cy="16778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85" name="Cube 84">
              <a:extLst>
                <a:ext uri="{FF2B5EF4-FFF2-40B4-BE49-F238E27FC236}">
                  <a16:creationId xmlns:a16="http://schemas.microsoft.com/office/drawing/2014/main" id="{41B28617-7F99-4636-90FE-F3A4C881507A}"/>
                </a:ext>
              </a:extLst>
            </p:cNvPr>
            <p:cNvSpPr/>
            <p:nvPr/>
          </p:nvSpPr>
          <p:spPr>
            <a:xfrm>
              <a:off x="8669938" y="4962190"/>
              <a:ext cx="196552" cy="12715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86" name="Cube 85">
              <a:extLst>
                <a:ext uri="{FF2B5EF4-FFF2-40B4-BE49-F238E27FC236}">
                  <a16:creationId xmlns:a16="http://schemas.microsoft.com/office/drawing/2014/main" id="{711A8CA2-F7F0-4E22-9A11-B7BB3D856E13}"/>
                </a:ext>
              </a:extLst>
            </p:cNvPr>
            <p:cNvSpPr/>
            <p:nvPr/>
          </p:nvSpPr>
          <p:spPr>
            <a:xfrm rot="5400000">
              <a:off x="8647655" y="4996943"/>
              <a:ext cx="234578" cy="13467"/>
            </a:xfrm>
            <a:prstGeom prst="cube">
              <a:avLst>
                <a:gd name="adj" fmla="val 1728"/>
              </a:avLst>
            </a:prstGeom>
            <a:solidFill>
              <a:schemeClr val="bg1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</p:grpSp>
      <p:sp>
        <p:nvSpPr>
          <p:cNvPr id="87" name="Cube 86">
            <a:extLst>
              <a:ext uri="{FF2B5EF4-FFF2-40B4-BE49-F238E27FC236}">
                <a16:creationId xmlns:a16="http://schemas.microsoft.com/office/drawing/2014/main" id="{77C1AC55-31BC-470E-9591-8A3AC7F0E628}"/>
              </a:ext>
            </a:extLst>
          </p:cNvPr>
          <p:cNvSpPr/>
          <p:nvPr/>
        </p:nvSpPr>
        <p:spPr>
          <a:xfrm>
            <a:off x="9113435" y="5892424"/>
            <a:ext cx="450325" cy="223850"/>
          </a:xfrm>
          <a:prstGeom prst="cube">
            <a:avLst>
              <a:gd name="adj" fmla="val 6076"/>
            </a:avLst>
          </a:prstGeom>
          <a:blipFill>
            <a:blip r:embed="rId5"/>
            <a:tile tx="0" ty="0" sx="100000" sy="100000" flip="none" algn="tl"/>
          </a:blip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E5A6126-E8CD-4DDB-A948-E821DE2BEA32}"/>
              </a:ext>
            </a:extLst>
          </p:cNvPr>
          <p:cNvSpPr txBox="1"/>
          <p:nvPr/>
        </p:nvSpPr>
        <p:spPr>
          <a:xfrm>
            <a:off x="8000988" y="5878969"/>
            <a:ext cx="104441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Beklædning</a:t>
            </a:r>
          </a:p>
        </p:txBody>
      </p:sp>
      <p:sp>
        <p:nvSpPr>
          <p:cNvPr id="10" name="Plus Sign 9">
            <a:extLst>
              <a:ext uri="{FF2B5EF4-FFF2-40B4-BE49-F238E27FC236}">
                <a16:creationId xmlns:a16="http://schemas.microsoft.com/office/drawing/2014/main" id="{7FA7D708-C424-4611-BD04-F83E50E79089}"/>
              </a:ext>
            </a:extLst>
          </p:cNvPr>
          <p:cNvSpPr/>
          <p:nvPr/>
        </p:nvSpPr>
        <p:spPr>
          <a:xfrm>
            <a:off x="9727596" y="5460557"/>
            <a:ext cx="245244" cy="243773"/>
          </a:xfrm>
          <a:prstGeom prst="mathPlus">
            <a:avLst>
              <a:gd name="adj1" fmla="val 254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FA45F17D-EC43-4C19-B42C-BEE4C87CA02C}"/>
              </a:ext>
            </a:extLst>
          </p:cNvPr>
          <p:cNvSpPr txBox="1"/>
          <p:nvPr/>
        </p:nvSpPr>
        <p:spPr>
          <a:xfrm>
            <a:off x="8135778" y="6211700"/>
            <a:ext cx="1525673" cy="243773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36000" tIns="0" rIns="36000" bIns="0" rtlCol="0" anchor="ctr">
            <a:noAutofit/>
          </a:bodyPr>
          <a:lstStyle>
            <a:defPPr>
              <a:defRPr lang="en-US"/>
            </a:defPPr>
            <a:lvl1pPr marL="285750" indent="-285750" defTabSz="360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Palatino Linotype" panose="02040502050505030304" pitchFamily="18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baseline="0">
                <a:latin typeface="Palatino Linotype" panose="02040502050505030304" pitchFamily="18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baseline="0">
                <a:latin typeface="Palatino Linotype" panose="02040502050505030304" pitchFamily="18" charset="0"/>
              </a:defRPr>
            </a:lvl9pPr>
          </a:lstStyle>
          <a:p>
            <a:pPr marL="0" indent="0" algn="ctr">
              <a:buNone/>
            </a:pPr>
            <a:r>
              <a:rPr lang="da-DK" dirty="0">
                <a:solidFill>
                  <a:schemeClr val="bg1">
                    <a:lumMod val="50000"/>
                  </a:schemeClr>
                </a:solidFill>
              </a:rPr>
              <a:t>Subaktiviteter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757ED7D-B728-43AF-B6E7-CA9AD3DC5B83}"/>
              </a:ext>
            </a:extLst>
          </p:cNvPr>
          <p:cNvSpPr txBox="1"/>
          <p:nvPr/>
        </p:nvSpPr>
        <p:spPr>
          <a:xfrm>
            <a:off x="10050226" y="6211700"/>
            <a:ext cx="1525673" cy="243773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36000" tIns="0" rIns="36000" bIns="0" rtlCol="0" anchor="ctr">
            <a:noAutofit/>
          </a:bodyPr>
          <a:lstStyle>
            <a:defPPr>
              <a:defRPr lang="en-US"/>
            </a:defPPr>
            <a:lvl1pPr marL="285750" indent="-285750" defTabSz="360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Palatino Linotype" panose="02040502050505030304" pitchFamily="18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baseline="0">
                <a:latin typeface="Palatino Linotype" panose="02040502050505030304" pitchFamily="18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baseline="0">
                <a:latin typeface="Palatino Linotype" panose="02040502050505030304" pitchFamily="18" charset="0"/>
              </a:defRPr>
            </a:lvl9pPr>
          </a:lstStyle>
          <a:p>
            <a:pPr marL="0" indent="0" algn="ctr">
              <a:buNone/>
            </a:pPr>
            <a:r>
              <a:rPr lang="da-DK" dirty="0">
                <a:solidFill>
                  <a:schemeClr val="bg1">
                    <a:lumMod val="50000"/>
                  </a:schemeClr>
                </a:solidFill>
              </a:rPr>
              <a:t>Ressourc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5A01C71-2D22-4F71-B51E-9034B37FADF4}"/>
              </a:ext>
            </a:extLst>
          </p:cNvPr>
          <p:cNvGrpSpPr/>
          <p:nvPr/>
        </p:nvGrpSpPr>
        <p:grpSpPr>
          <a:xfrm>
            <a:off x="10736782" y="5331098"/>
            <a:ext cx="760131" cy="194935"/>
            <a:chOff x="10803368" y="5395759"/>
            <a:chExt cx="370815" cy="93722"/>
          </a:xfrm>
        </p:grpSpPr>
        <p:sp>
          <p:nvSpPr>
            <p:cNvPr id="93" name="Cube 92">
              <a:extLst>
                <a:ext uri="{FF2B5EF4-FFF2-40B4-BE49-F238E27FC236}">
                  <a16:creationId xmlns:a16="http://schemas.microsoft.com/office/drawing/2014/main" id="{23F6907E-9FE8-40F0-8496-3E126E263D7F}"/>
                </a:ext>
              </a:extLst>
            </p:cNvPr>
            <p:cNvSpPr/>
            <p:nvPr/>
          </p:nvSpPr>
          <p:spPr>
            <a:xfrm>
              <a:off x="10884776" y="5395759"/>
              <a:ext cx="289407" cy="66216"/>
            </a:xfrm>
            <a:prstGeom prst="cube">
              <a:avLst>
                <a:gd name="adj" fmla="val 83750"/>
              </a:avLst>
            </a:prstGeom>
            <a:pattFill prst="smGrid">
              <a:fgClr>
                <a:schemeClr val="bg1">
                  <a:lumMod val="50000"/>
                </a:schemeClr>
              </a:fgClr>
              <a:bgClr>
                <a:srgbClr val="DCD5CF"/>
              </a:bgClr>
            </a:patt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91" name="Cube 90">
              <a:extLst>
                <a:ext uri="{FF2B5EF4-FFF2-40B4-BE49-F238E27FC236}">
                  <a16:creationId xmlns:a16="http://schemas.microsoft.com/office/drawing/2014/main" id="{A39BBC8C-60B6-4433-B923-3ECED7D897EF}"/>
                </a:ext>
              </a:extLst>
            </p:cNvPr>
            <p:cNvSpPr/>
            <p:nvPr/>
          </p:nvSpPr>
          <p:spPr>
            <a:xfrm>
              <a:off x="10803368" y="5402367"/>
              <a:ext cx="214113" cy="63412"/>
            </a:xfrm>
            <a:prstGeom prst="cube">
              <a:avLst>
                <a:gd name="adj" fmla="val 84935"/>
              </a:avLst>
            </a:prstGeom>
            <a:pattFill prst="smGrid">
              <a:fgClr>
                <a:schemeClr val="bg1">
                  <a:lumMod val="50000"/>
                </a:schemeClr>
              </a:fgClr>
              <a:bgClr>
                <a:srgbClr val="DCD5CF"/>
              </a:bgClr>
            </a:patt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92" name="Cube 91">
              <a:extLst>
                <a:ext uri="{FF2B5EF4-FFF2-40B4-BE49-F238E27FC236}">
                  <a16:creationId xmlns:a16="http://schemas.microsoft.com/office/drawing/2014/main" id="{FB58D446-1A8A-479C-BFEB-11287415D40C}"/>
                </a:ext>
              </a:extLst>
            </p:cNvPr>
            <p:cNvSpPr/>
            <p:nvPr/>
          </p:nvSpPr>
          <p:spPr>
            <a:xfrm rot="195635">
              <a:off x="10886406" y="5426069"/>
              <a:ext cx="214113" cy="63412"/>
            </a:xfrm>
            <a:prstGeom prst="cube">
              <a:avLst>
                <a:gd name="adj" fmla="val 84935"/>
              </a:avLst>
            </a:prstGeom>
            <a:pattFill prst="smGrid">
              <a:fgClr>
                <a:schemeClr val="bg1">
                  <a:lumMod val="50000"/>
                </a:schemeClr>
              </a:fgClr>
              <a:bgClr>
                <a:srgbClr val="DCD5CF"/>
              </a:bgClr>
            </a:patt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BB2FA17-E250-4E27-97EF-BC522CAC7A01}"/>
              </a:ext>
            </a:extLst>
          </p:cNvPr>
          <p:cNvGrpSpPr/>
          <p:nvPr/>
        </p:nvGrpSpPr>
        <p:grpSpPr>
          <a:xfrm>
            <a:off x="10356300" y="5563642"/>
            <a:ext cx="639268" cy="485636"/>
            <a:chOff x="10410991" y="5703012"/>
            <a:chExt cx="639268" cy="485636"/>
          </a:xfrm>
        </p:grpSpPr>
        <p:pic>
          <p:nvPicPr>
            <p:cNvPr id="13" name="Graphic 12" descr="Construction worker female outline">
              <a:extLst>
                <a:ext uri="{FF2B5EF4-FFF2-40B4-BE49-F238E27FC236}">
                  <a16:creationId xmlns:a16="http://schemas.microsoft.com/office/drawing/2014/main" id="{237E8FCF-FE06-48A2-8203-C48BD5FDC23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410991" y="5703012"/>
              <a:ext cx="325864" cy="325864"/>
            </a:xfrm>
            <a:prstGeom prst="rect">
              <a:avLst/>
            </a:prstGeom>
          </p:spPr>
        </p:pic>
        <p:pic>
          <p:nvPicPr>
            <p:cNvPr id="15" name="Graphic 14" descr="Construction worker male outline">
              <a:extLst>
                <a:ext uri="{FF2B5EF4-FFF2-40B4-BE49-F238E27FC236}">
                  <a16:creationId xmlns:a16="http://schemas.microsoft.com/office/drawing/2014/main" id="{4B62E987-299B-48D8-92D3-0EB2B4971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724395" y="5753632"/>
              <a:ext cx="325864" cy="325864"/>
            </a:xfrm>
            <a:prstGeom prst="rect">
              <a:avLst/>
            </a:prstGeom>
          </p:spPr>
        </p:pic>
        <p:pic>
          <p:nvPicPr>
            <p:cNvPr id="94" name="Graphic 93" descr="Construction worker male outline">
              <a:extLst>
                <a:ext uri="{FF2B5EF4-FFF2-40B4-BE49-F238E27FC236}">
                  <a16:creationId xmlns:a16="http://schemas.microsoft.com/office/drawing/2014/main" id="{4FBFFFE1-D0AC-4649-B125-5E52D2314E9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567693" y="5862784"/>
              <a:ext cx="325864" cy="325864"/>
            </a:xfrm>
            <a:prstGeom prst="rect">
              <a:avLst/>
            </a:prstGeom>
          </p:spPr>
        </p:pic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A036B479-F272-4FF1-A910-6D09D0770EA0}"/>
              </a:ext>
            </a:extLst>
          </p:cNvPr>
          <p:cNvSpPr txBox="1"/>
          <p:nvPr/>
        </p:nvSpPr>
        <p:spPr>
          <a:xfrm>
            <a:off x="9245025" y="1964430"/>
            <a:ext cx="3327975" cy="1892285"/>
          </a:xfrm>
          <a:prstGeom prst="roundRect">
            <a:avLst>
              <a:gd name="adj" fmla="val 7559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D3F1D8"/>
            </a:solidFill>
          </a:ln>
        </p:spPr>
        <p:txBody>
          <a:bodyPr vert="horz" wrap="square" lIns="72000" tIns="72000" rIns="72000" bIns="72000" rtlCol="0">
            <a:noAutofit/>
          </a:bodyPr>
          <a:lstStyle>
            <a:defPPr>
              <a:defRPr lang="en-US"/>
            </a:defPPr>
            <a:lvl1pPr marL="171450" indent="-171450" defTabSz="360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Palatino Linotype" panose="02040502050505030304" pitchFamily="18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baseline="0">
                <a:latin typeface="Palatino Linotype" panose="02040502050505030304" pitchFamily="18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baseline="0">
                <a:latin typeface="Palatino Linotype" panose="02040502050505030304" pitchFamily="18" charset="0"/>
              </a:defRPr>
            </a:lvl9pPr>
          </a:lstStyle>
          <a:p>
            <a:pPr marL="171450" indent="-171450" defTabSz="360000">
              <a:buFont typeface="Arial" panose="020B0604020202020204" pitchFamily="34" charset="0"/>
              <a:buChar char="•"/>
            </a:pPr>
            <a:r>
              <a:rPr lang="da-DK" sz="1200" dirty="0"/>
              <a:t>Navn: 			</a:t>
            </a:r>
            <a:r>
              <a:rPr lang="da-DK" dirty="0" err="1"/>
              <a:t>Betonudstøbning</a:t>
            </a:r>
            <a:r>
              <a:rPr lang="da-DK" dirty="0"/>
              <a:t>  					Pladsstøbt Væg</a:t>
            </a:r>
          </a:p>
          <a:p>
            <a:pPr marL="171450" indent="-171450" defTabSz="360000">
              <a:buFont typeface="Arial" panose="020B0604020202020204" pitchFamily="34" charset="0"/>
              <a:buChar char="•"/>
            </a:pPr>
            <a:r>
              <a:rPr lang="da-DK" dirty="0"/>
              <a:t>Code:			</a:t>
            </a:r>
            <a:r>
              <a:rPr lang="da-DK" sz="1200" dirty="0"/>
              <a:t>BE403</a:t>
            </a:r>
          </a:p>
          <a:p>
            <a:pPr marL="171450" indent="-171450" defTabSz="360000">
              <a:buFont typeface="Arial" panose="020B0604020202020204" pitchFamily="34" charset="0"/>
              <a:buChar char="•"/>
            </a:pPr>
            <a:r>
              <a:rPr lang="da-DK" sz="1200" dirty="0"/>
              <a:t>Kategori: 		Råhus</a:t>
            </a:r>
          </a:p>
          <a:p>
            <a:pPr marL="171450" indent="-171450" defTabSz="360000">
              <a:buFont typeface="Arial" panose="020B0604020202020204" pitchFamily="34" charset="0"/>
              <a:buChar char="•"/>
            </a:pPr>
            <a:r>
              <a:rPr lang="da-DK" sz="1200" dirty="0"/>
              <a:t>Varighedsfaktor: 	m2</a:t>
            </a:r>
            <a:endParaRPr lang="en-US" sz="1200" dirty="0"/>
          </a:p>
          <a:p>
            <a:pPr marL="171450" indent="-171450" defTabSz="360000">
              <a:buFont typeface="Arial" panose="020B0604020202020204" pitchFamily="34" charset="0"/>
              <a:buChar char="•"/>
            </a:pPr>
            <a:r>
              <a:rPr lang="en-US" sz="1200" dirty="0" err="1"/>
              <a:t>Tidsforbrug</a:t>
            </a:r>
            <a:r>
              <a:rPr lang="en-US" sz="1200" dirty="0"/>
              <a:t>:		0.1 h/m2</a:t>
            </a:r>
          </a:p>
          <a:p>
            <a:pPr marL="171450" indent="-171450" defTabSz="360000">
              <a:buFont typeface="Arial" panose="020B0604020202020204" pitchFamily="34" charset="0"/>
              <a:buChar char="•"/>
            </a:pPr>
            <a:r>
              <a:rPr lang="en-US" dirty="0" err="1"/>
              <a:t>Ressourcer</a:t>
            </a:r>
            <a:r>
              <a:rPr lang="en-US" dirty="0"/>
              <a:t>:		…</a:t>
            </a:r>
            <a:endParaRPr lang="en-US" sz="1200" dirty="0"/>
          </a:p>
          <a:p>
            <a:pPr marL="171450" indent="-171450" defTabSz="360000">
              <a:buFont typeface="Arial" panose="020B0604020202020204" pitchFamily="34" charset="0"/>
              <a:buChar char="•"/>
            </a:pPr>
            <a:r>
              <a:rPr lang="en-US" sz="1200" dirty="0" err="1"/>
              <a:t>ElementTyper</a:t>
            </a:r>
            <a:r>
              <a:rPr lang="en-US" sz="1200" dirty="0"/>
              <a:t>:	</a:t>
            </a:r>
            <a:r>
              <a:rPr lang="en-US" sz="1200" dirty="0" err="1"/>
              <a:t>Insitu</a:t>
            </a:r>
            <a:r>
              <a:rPr lang="en-US" sz="1200" dirty="0"/>
              <a:t> </a:t>
            </a:r>
            <a:r>
              <a:rPr lang="en-US" sz="1200" dirty="0" err="1"/>
              <a:t>Væg</a:t>
            </a:r>
            <a:endParaRPr lang="en-US" sz="1200" dirty="0"/>
          </a:p>
        </p:txBody>
      </p:sp>
      <p:sp>
        <p:nvSpPr>
          <p:cNvPr id="96" name="Arc 95">
            <a:extLst>
              <a:ext uri="{FF2B5EF4-FFF2-40B4-BE49-F238E27FC236}">
                <a16:creationId xmlns:a16="http://schemas.microsoft.com/office/drawing/2014/main" id="{FCF9F115-F5D5-4B1E-8983-E534154C1596}"/>
              </a:ext>
            </a:extLst>
          </p:cNvPr>
          <p:cNvSpPr/>
          <p:nvPr/>
        </p:nvSpPr>
        <p:spPr>
          <a:xfrm rot="6024184" flipH="1">
            <a:off x="8437644" y="2784257"/>
            <a:ext cx="1464106" cy="2073965"/>
          </a:xfrm>
          <a:prstGeom prst="arc">
            <a:avLst>
              <a:gd name="adj1" fmla="val 15327407"/>
              <a:gd name="adj2" fmla="val 17446810"/>
            </a:avLst>
          </a:prstGeom>
          <a:ln w="28575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100" name="Cube 99">
            <a:extLst>
              <a:ext uri="{FF2B5EF4-FFF2-40B4-BE49-F238E27FC236}">
                <a16:creationId xmlns:a16="http://schemas.microsoft.com/office/drawing/2014/main" id="{2C9FA2F6-1853-43E2-B753-81A7A1FFFE97}"/>
              </a:ext>
            </a:extLst>
          </p:cNvPr>
          <p:cNvSpPr/>
          <p:nvPr/>
        </p:nvSpPr>
        <p:spPr>
          <a:xfrm>
            <a:off x="6507109" y="5410788"/>
            <a:ext cx="985714" cy="501439"/>
          </a:xfrm>
          <a:prstGeom prst="cube">
            <a:avLst>
              <a:gd name="adj" fmla="val 6076"/>
            </a:avLst>
          </a:prstGeom>
          <a:solidFill>
            <a:srgbClr val="D3F1D8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7107529D-89DB-4687-9BDB-300A28BB4482}"/>
              </a:ext>
            </a:extLst>
          </p:cNvPr>
          <p:cNvSpPr/>
          <p:nvPr/>
        </p:nvSpPr>
        <p:spPr>
          <a:xfrm>
            <a:off x="6764153" y="5561480"/>
            <a:ext cx="441146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700" dirty="0"/>
              <a:t>Væg 1</a:t>
            </a:r>
            <a:endParaRPr lang="en-US" sz="700" dirty="0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CCB2C3A-87D4-4130-8E90-ADC571D0A65E}"/>
              </a:ext>
            </a:extLst>
          </p:cNvPr>
          <p:cNvSpPr/>
          <p:nvPr/>
        </p:nvSpPr>
        <p:spPr>
          <a:xfrm>
            <a:off x="6527997" y="5896928"/>
            <a:ext cx="947900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700" dirty="0"/>
              <a:t>30 m2</a:t>
            </a:r>
            <a:endParaRPr lang="en-US" sz="700" dirty="0"/>
          </a:p>
        </p:txBody>
      </p:sp>
      <p:sp>
        <p:nvSpPr>
          <p:cNvPr id="104" name="Arc 103">
            <a:extLst>
              <a:ext uri="{FF2B5EF4-FFF2-40B4-BE49-F238E27FC236}">
                <a16:creationId xmlns:a16="http://schemas.microsoft.com/office/drawing/2014/main" id="{791D4867-B4FC-4A69-BE01-B391108D6D62}"/>
              </a:ext>
            </a:extLst>
          </p:cNvPr>
          <p:cNvSpPr/>
          <p:nvPr/>
        </p:nvSpPr>
        <p:spPr>
          <a:xfrm rot="11043977" flipH="1">
            <a:off x="6879523" y="4683301"/>
            <a:ext cx="1584620" cy="1079961"/>
          </a:xfrm>
          <a:prstGeom prst="arc">
            <a:avLst>
              <a:gd name="adj1" fmla="val 15597201"/>
              <a:gd name="adj2" fmla="val 18622481"/>
            </a:avLst>
          </a:prstGeom>
          <a:ln w="6350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105" name="Arc 104">
            <a:extLst>
              <a:ext uri="{FF2B5EF4-FFF2-40B4-BE49-F238E27FC236}">
                <a16:creationId xmlns:a16="http://schemas.microsoft.com/office/drawing/2014/main" id="{0C03FD81-59E0-4011-937C-49B2CF056F03}"/>
              </a:ext>
            </a:extLst>
          </p:cNvPr>
          <p:cNvSpPr/>
          <p:nvPr/>
        </p:nvSpPr>
        <p:spPr>
          <a:xfrm rot="12127539" flipH="1">
            <a:off x="7062264" y="4889824"/>
            <a:ext cx="1584620" cy="1079961"/>
          </a:xfrm>
          <a:prstGeom prst="arc">
            <a:avLst>
              <a:gd name="adj1" fmla="val 15346184"/>
              <a:gd name="adj2" fmla="val 18622481"/>
            </a:avLst>
          </a:prstGeom>
          <a:ln w="6350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106" name="Arc 105">
            <a:extLst>
              <a:ext uri="{FF2B5EF4-FFF2-40B4-BE49-F238E27FC236}">
                <a16:creationId xmlns:a16="http://schemas.microsoft.com/office/drawing/2014/main" id="{829DAD3D-504F-4B07-AFEE-62D50564821C}"/>
              </a:ext>
            </a:extLst>
          </p:cNvPr>
          <p:cNvSpPr/>
          <p:nvPr/>
        </p:nvSpPr>
        <p:spPr>
          <a:xfrm rot="10458867" flipH="1">
            <a:off x="6811225" y="4425908"/>
            <a:ext cx="1584620" cy="1079961"/>
          </a:xfrm>
          <a:prstGeom prst="arc">
            <a:avLst>
              <a:gd name="adj1" fmla="val 15346184"/>
              <a:gd name="adj2" fmla="val 18622481"/>
            </a:avLst>
          </a:prstGeom>
          <a:ln w="6350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107" name="Arc 106">
            <a:extLst>
              <a:ext uri="{FF2B5EF4-FFF2-40B4-BE49-F238E27FC236}">
                <a16:creationId xmlns:a16="http://schemas.microsoft.com/office/drawing/2014/main" id="{C68231A9-BF20-4A65-89EB-84F2A10F443D}"/>
              </a:ext>
            </a:extLst>
          </p:cNvPr>
          <p:cNvSpPr/>
          <p:nvPr/>
        </p:nvSpPr>
        <p:spPr>
          <a:xfrm rot="9176556" flipH="1">
            <a:off x="6896270" y="4325601"/>
            <a:ext cx="1308525" cy="1079961"/>
          </a:xfrm>
          <a:prstGeom prst="arc">
            <a:avLst>
              <a:gd name="adj1" fmla="val 14388074"/>
              <a:gd name="adj2" fmla="val 18056485"/>
            </a:avLst>
          </a:prstGeom>
          <a:ln w="6350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086869CC-8962-4673-BB41-0B7E9D3F0184}"/>
              </a:ext>
            </a:extLst>
          </p:cNvPr>
          <p:cNvSpPr/>
          <p:nvPr/>
        </p:nvSpPr>
        <p:spPr>
          <a:xfrm rot="18878093">
            <a:off x="867872" y="2411484"/>
            <a:ext cx="441146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700" i="1" dirty="0"/>
              <a:t>Væg 2</a:t>
            </a:r>
            <a:endParaRPr lang="en-US" sz="700" i="1" dirty="0"/>
          </a:p>
        </p:txBody>
      </p:sp>
      <p:sp>
        <p:nvSpPr>
          <p:cNvPr id="111" name="Cube 110">
            <a:extLst>
              <a:ext uri="{FF2B5EF4-FFF2-40B4-BE49-F238E27FC236}">
                <a16:creationId xmlns:a16="http://schemas.microsoft.com/office/drawing/2014/main" id="{BA39EA8B-5324-44B2-B525-64A889E2EE3A}"/>
              </a:ext>
            </a:extLst>
          </p:cNvPr>
          <p:cNvSpPr/>
          <p:nvPr/>
        </p:nvSpPr>
        <p:spPr>
          <a:xfrm>
            <a:off x="6507109" y="4740176"/>
            <a:ext cx="697950" cy="501439"/>
          </a:xfrm>
          <a:prstGeom prst="cube">
            <a:avLst>
              <a:gd name="adj" fmla="val 12154"/>
            </a:avLst>
          </a:prstGeom>
          <a:solidFill>
            <a:srgbClr val="D3F1D8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DB5757B-6559-45AC-A5D8-EA699B8557C1}"/>
              </a:ext>
            </a:extLst>
          </p:cNvPr>
          <p:cNvSpPr/>
          <p:nvPr/>
        </p:nvSpPr>
        <p:spPr>
          <a:xfrm>
            <a:off x="6633978" y="4911803"/>
            <a:ext cx="441146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700" dirty="0"/>
              <a:t>Væg 2</a:t>
            </a:r>
            <a:endParaRPr lang="en-US" sz="700" dirty="0"/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F4E72545-0BD5-4723-B6C2-E70F03941995}"/>
              </a:ext>
            </a:extLst>
          </p:cNvPr>
          <p:cNvSpPr/>
          <p:nvPr/>
        </p:nvSpPr>
        <p:spPr>
          <a:xfrm>
            <a:off x="6373111" y="5210733"/>
            <a:ext cx="947900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700" dirty="0"/>
              <a:t>20 m2</a:t>
            </a:r>
            <a:endParaRPr lang="en-US" sz="700" dirty="0"/>
          </a:p>
        </p:txBody>
      </p:sp>
      <p:pic>
        <p:nvPicPr>
          <p:cNvPr id="114" name="Picture 113">
            <a:extLst>
              <a:ext uri="{FF2B5EF4-FFF2-40B4-BE49-F238E27FC236}">
                <a16:creationId xmlns:a16="http://schemas.microsoft.com/office/drawing/2014/main" id="{6B067E0F-20A8-4FA3-8661-994003C1E0A3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7" t="6495" r="4828" b="8805"/>
          <a:stretch/>
        </p:blipFill>
        <p:spPr>
          <a:xfrm>
            <a:off x="4806035" y="2836033"/>
            <a:ext cx="1727423" cy="944826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id="{B5CDA304-6E9A-46DF-A3E3-7C45EF643A42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26" t="11444" r="32737" b="23173"/>
          <a:stretch/>
        </p:blipFill>
        <p:spPr>
          <a:xfrm>
            <a:off x="5651457" y="2032713"/>
            <a:ext cx="1825297" cy="913248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C2C0F30D-8921-4E56-8BBD-261D3BA1C0EE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clrChange>
              <a:clrFrom>
                <a:srgbClr val="87CEEB"/>
              </a:clrFrom>
              <a:clrTo>
                <a:srgbClr val="87CEE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59" t="15362" r="1915" b="3752"/>
          <a:stretch/>
        </p:blipFill>
        <p:spPr>
          <a:xfrm>
            <a:off x="5869690" y="2243160"/>
            <a:ext cx="2636149" cy="153769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375DC86-7894-4B98-AB38-B987FDBA8636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87CEEB"/>
              </a:clrFrom>
              <a:clrTo>
                <a:srgbClr val="87CEE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724752" y="1806599"/>
            <a:ext cx="1319219" cy="880260"/>
          </a:xfrm>
          <a:prstGeom prst="rect">
            <a:avLst/>
          </a:prstGeom>
        </p:spPr>
      </p:pic>
      <p:sp>
        <p:nvSpPr>
          <p:cNvPr id="66" name="Arc 65">
            <a:extLst>
              <a:ext uri="{FF2B5EF4-FFF2-40B4-BE49-F238E27FC236}">
                <a16:creationId xmlns:a16="http://schemas.microsoft.com/office/drawing/2014/main" id="{92905C1E-58E5-49DA-950F-43074F8CC326}"/>
              </a:ext>
            </a:extLst>
          </p:cNvPr>
          <p:cNvSpPr/>
          <p:nvPr/>
        </p:nvSpPr>
        <p:spPr>
          <a:xfrm flipH="1">
            <a:off x="5432126" y="3141013"/>
            <a:ext cx="6064787" cy="2073965"/>
          </a:xfrm>
          <a:prstGeom prst="arc">
            <a:avLst>
              <a:gd name="adj1" fmla="val 14081036"/>
              <a:gd name="adj2" fmla="val 16361183"/>
            </a:avLst>
          </a:prstGeom>
          <a:ln w="28575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116" name="Subtitle 2">
            <a:extLst>
              <a:ext uri="{FF2B5EF4-FFF2-40B4-BE49-F238E27FC236}">
                <a16:creationId xmlns:a16="http://schemas.microsoft.com/office/drawing/2014/main" id="{1DBA751A-A015-4DF2-A744-A9459F3DFE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7088" y="1108591"/>
            <a:ext cx="10741024" cy="369332"/>
          </a:xfrm>
        </p:spPr>
        <p:txBody>
          <a:bodyPr/>
          <a:lstStyle/>
          <a:p>
            <a:r>
              <a:rPr lang="da-DK" dirty="0"/>
              <a:t>Skab en d</a:t>
            </a:r>
            <a:r>
              <a:rPr lang="da-DK" sz="2000" dirty="0">
                <a:latin typeface="Palatino Linotype" panose="02040502050505030304" pitchFamily="18" charset="0"/>
              </a:rPr>
              <a:t>ata model som understøtter lokations- og model-baseret tidsplanlægn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667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2" fill="hold">
                      <p:stCondLst>
                        <p:cond delay="indefinite"/>
                      </p:stCondLst>
                      <p:childTnLst>
                        <p:par>
                          <p:cTn id="133" fill="hold">
                            <p:stCondLst>
                              <p:cond delay="0"/>
                            </p:stCondLst>
                            <p:childTnLst>
                              <p:par>
                                <p:cTn id="1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1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1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>
                      <p:stCondLst>
                        <p:cond delay="indefinite"/>
                      </p:stCondLst>
                      <p:childTnLst>
                        <p:par>
                          <p:cTn id="143" fill="hold">
                            <p:stCondLst>
                              <p:cond delay="0"/>
                            </p:stCondLst>
                            <p:childTnLst>
                              <p:par>
                                <p:cTn id="1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1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56" grpId="0" animBg="1"/>
      <p:bldP spid="52" grpId="0" animBg="1"/>
      <p:bldP spid="50" grpId="0" animBg="1"/>
      <p:bldP spid="32" grpId="0" animBg="1"/>
      <p:bldP spid="41" grpId="0" animBg="1"/>
      <p:bldP spid="47" grpId="0" animBg="1"/>
      <p:bldP spid="48" grpId="0" animBg="1"/>
      <p:bldP spid="49" grpId="0" animBg="1"/>
      <p:bldP spid="58" grpId="0" animBg="1"/>
      <p:bldP spid="74" grpId="0"/>
      <p:bldP spid="75" grpId="0"/>
      <p:bldP spid="79" grpId="0" animBg="1"/>
      <p:bldP spid="80" grpId="0"/>
      <p:bldP spid="81" grpId="0" animBg="1"/>
      <p:bldP spid="87" grpId="0" animBg="1"/>
      <p:bldP spid="88" grpId="0"/>
      <p:bldP spid="10" grpId="0" animBg="1"/>
      <p:bldP spid="89" grpId="0" animBg="1"/>
      <p:bldP spid="90" grpId="0" animBg="1"/>
      <p:bldP spid="95" grpId="0" animBg="1"/>
      <p:bldP spid="96" grpId="0" animBg="1"/>
      <p:bldP spid="100" grpId="0" animBg="1"/>
      <p:bldP spid="101" grpId="0"/>
      <p:bldP spid="103" grpId="0"/>
      <p:bldP spid="104" grpId="0" animBg="1"/>
      <p:bldP spid="105" grpId="0" animBg="1"/>
      <p:bldP spid="106" grpId="0" animBg="1"/>
      <p:bldP spid="107" grpId="0" animBg="1"/>
      <p:bldP spid="111" grpId="0" animBg="1"/>
      <p:bldP spid="112" grpId="0"/>
      <p:bldP spid="113" grpId="0"/>
      <p:bldP spid="6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F62F44C2-E4E4-4E5A-9052-84A5F7EECED0}"/>
              </a:ext>
            </a:extLst>
          </p:cNvPr>
          <p:cNvGrpSpPr/>
          <p:nvPr/>
        </p:nvGrpSpPr>
        <p:grpSpPr>
          <a:xfrm>
            <a:off x="2968233" y="2930591"/>
            <a:ext cx="3118800" cy="594367"/>
            <a:chOff x="2158749" y="4662710"/>
            <a:chExt cx="6076979" cy="1374618"/>
          </a:xfrm>
        </p:grpSpPr>
        <p:sp>
          <p:nvSpPr>
            <p:cNvPr id="78" name="Flowchart: Data 77">
              <a:extLst>
                <a:ext uri="{FF2B5EF4-FFF2-40B4-BE49-F238E27FC236}">
                  <a16:creationId xmlns:a16="http://schemas.microsoft.com/office/drawing/2014/main" id="{7BBA2F36-CA9C-4748-8EA6-6A34ACEDC72E}"/>
                </a:ext>
              </a:extLst>
            </p:cNvPr>
            <p:cNvSpPr/>
            <p:nvPr/>
          </p:nvSpPr>
          <p:spPr>
            <a:xfrm rot="10800000">
              <a:off x="2158749" y="4662710"/>
              <a:ext cx="3374167" cy="1374613"/>
            </a:xfrm>
            <a:prstGeom prst="flowChartInputOutput">
              <a:avLst/>
            </a:prstGeom>
            <a:solidFill>
              <a:schemeClr val="bg2">
                <a:lumMod val="90000"/>
                <a:alpha val="4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81" name="Flowchart: Data 80">
              <a:extLst>
                <a:ext uri="{FF2B5EF4-FFF2-40B4-BE49-F238E27FC236}">
                  <a16:creationId xmlns:a16="http://schemas.microsoft.com/office/drawing/2014/main" id="{77040BBD-F200-45D9-B4F3-19CC806715A9}"/>
                </a:ext>
              </a:extLst>
            </p:cNvPr>
            <p:cNvSpPr/>
            <p:nvPr/>
          </p:nvSpPr>
          <p:spPr>
            <a:xfrm rot="10800000">
              <a:off x="4861561" y="4662719"/>
              <a:ext cx="3374167" cy="1374609"/>
            </a:xfrm>
            <a:prstGeom prst="flowChartInputOutput">
              <a:avLst/>
            </a:prstGeom>
            <a:solidFill>
              <a:schemeClr val="accent4">
                <a:lumMod val="60000"/>
                <a:lumOff val="40000"/>
                <a:alpha val="4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FAF4DBDA-2A0C-4004-8EB4-1CBF7C916D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0480" y="3119928"/>
            <a:ext cx="1419624" cy="1291321"/>
          </a:xfrm>
          <a:prstGeom prst="rect">
            <a:avLst/>
          </a:prstGeom>
        </p:spPr>
      </p:pic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2DFEA84-8061-44C6-B956-90FD4B1C0E27}"/>
              </a:ext>
            </a:extLst>
          </p:cNvPr>
          <p:cNvSpPr/>
          <p:nvPr/>
        </p:nvSpPr>
        <p:spPr>
          <a:xfrm>
            <a:off x="623888" y="1696880"/>
            <a:ext cx="10944224" cy="4546756"/>
          </a:xfrm>
          <a:prstGeom prst="roundRect">
            <a:avLst>
              <a:gd name="adj" fmla="val 7814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en-US" sz="1200" b="1" dirty="0" err="1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7089" y="1208078"/>
            <a:ext cx="10741024" cy="369332"/>
          </a:xfrm>
        </p:spPr>
        <p:txBody>
          <a:bodyPr/>
          <a:lstStyle/>
          <a:p>
            <a:r>
              <a:rPr lang="da-DK" dirty="0"/>
              <a:t>Dynamo værktøj for l</a:t>
            </a:r>
            <a:r>
              <a:rPr lang="da-DK" sz="2000" dirty="0"/>
              <a:t>okationsopdeling og mængdeudtræk</a:t>
            </a:r>
            <a:endParaRPr lang="en-US" sz="2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C58676A-B43E-4B59-BC32-BABACC4D29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204" y="2341067"/>
            <a:ext cx="1495594" cy="1378809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1AD9980B-4B12-45F4-98D8-41638D87BE69}"/>
              </a:ext>
            </a:extLst>
          </p:cNvPr>
          <p:cNvGrpSpPr/>
          <p:nvPr/>
        </p:nvGrpSpPr>
        <p:grpSpPr>
          <a:xfrm>
            <a:off x="2320240" y="2930594"/>
            <a:ext cx="490319" cy="498406"/>
            <a:chOff x="1199806" y="2032771"/>
            <a:chExt cx="1260368" cy="1260368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B21927F4-6C3D-4B47-A4E1-E8819C5A4D6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03214" y="2097913"/>
              <a:ext cx="1130084" cy="1130084"/>
            </a:xfrm>
            <a:prstGeom prst="ellipse">
              <a:avLst/>
            </a:prstGeom>
            <a:solidFill>
              <a:srgbClr val="E8EEF9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pic>
          <p:nvPicPr>
            <p:cNvPr id="73" name="Picture 72" descr="Icon&#10;&#10;Description automatically generated">
              <a:extLst>
                <a:ext uri="{FF2B5EF4-FFF2-40B4-BE49-F238E27FC236}">
                  <a16:creationId xmlns:a16="http://schemas.microsoft.com/office/drawing/2014/main" id="{BA828F8E-EE8B-4B3B-85FD-D0FE293D00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806" y="2032771"/>
              <a:ext cx="1260368" cy="1260368"/>
            </a:xfrm>
            <a:prstGeom prst="rect">
              <a:avLst/>
            </a:prstGeom>
          </p:spPr>
        </p:pic>
      </p:grpSp>
      <p:sp>
        <p:nvSpPr>
          <p:cNvPr id="80" name="Cube 79">
            <a:extLst>
              <a:ext uri="{FF2B5EF4-FFF2-40B4-BE49-F238E27FC236}">
                <a16:creationId xmlns:a16="http://schemas.microsoft.com/office/drawing/2014/main" id="{54EBF3BA-33F8-4351-8E5F-30C72997F24B}"/>
              </a:ext>
            </a:extLst>
          </p:cNvPr>
          <p:cNvSpPr/>
          <p:nvPr/>
        </p:nvSpPr>
        <p:spPr>
          <a:xfrm>
            <a:off x="3834070" y="2749566"/>
            <a:ext cx="1774246" cy="323568"/>
          </a:xfrm>
          <a:prstGeom prst="cube">
            <a:avLst>
              <a:gd name="adj" fmla="val 6076"/>
            </a:avLst>
          </a:prstGeom>
          <a:solidFill>
            <a:srgbClr val="DCD5C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2" name="Cube 81">
            <a:extLst>
              <a:ext uri="{FF2B5EF4-FFF2-40B4-BE49-F238E27FC236}">
                <a16:creationId xmlns:a16="http://schemas.microsoft.com/office/drawing/2014/main" id="{C3A3B06C-32DC-4C22-B4E5-7BD2A6D49249}"/>
              </a:ext>
            </a:extLst>
          </p:cNvPr>
          <p:cNvSpPr/>
          <p:nvPr/>
        </p:nvSpPr>
        <p:spPr>
          <a:xfrm>
            <a:off x="5384569" y="2749566"/>
            <a:ext cx="223747" cy="502482"/>
          </a:xfrm>
          <a:prstGeom prst="cube">
            <a:avLst>
              <a:gd name="adj" fmla="val 81119"/>
            </a:avLst>
          </a:prstGeom>
          <a:solidFill>
            <a:srgbClr val="DCD5C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83" name="Cube 82">
            <a:extLst>
              <a:ext uri="{FF2B5EF4-FFF2-40B4-BE49-F238E27FC236}">
                <a16:creationId xmlns:a16="http://schemas.microsoft.com/office/drawing/2014/main" id="{859904B0-036C-4F7B-9CB2-7CB801A9E1E0}"/>
              </a:ext>
            </a:extLst>
          </p:cNvPr>
          <p:cNvSpPr/>
          <p:nvPr/>
        </p:nvSpPr>
        <p:spPr>
          <a:xfrm>
            <a:off x="3656696" y="2749566"/>
            <a:ext cx="223747" cy="502482"/>
          </a:xfrm>
          <a:prstGeom prst="cube">
            <a:avLst>
              <a:gd name="adj" fmla="val 81119"/>
            </a:avLst>
          </a:prstGeom>
          <a:solidFill>
            <a:srgbClr val="DCD5C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92E9BE16-46A9-41EC-A03C-1716EE4112E8}"/>
              </a:ext>
            </a:extLst>
          </p:cNvPr>
          <p:cNvCxnSpPr>
            <a:cxnSpLocks/>
          </p:cNvCxnSpPr>
          <p:nvPr/>
        </p:nvCxnSpPr>
        <p:spPr>
          <a:xfrm>
            <a:off x="4612105" y="2636384"/>
            <a:ext cx="0" cy="483544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4569FD22-AE4C-4557-B4A7-CA7E71E7D0F4}"/>
              </a:ext>
            </a:extLst>
          </p:cNvPr>
          <p:cNvSpPr txBox="1"/>
          <p:nvPr/>
        </p:nvSpPr>
        <p:spPr>
          <a:xfrm>
            <a:off x="3056041" y="3359750"/>
            <a:ext cx="129931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900" b="1" dirty="0">
                <a:solidFill>
                  <a:schemeClr val="accent6">
                    <a:lumMod val="75000"/>
                  </a:schemeClr>
                </a:solidFill>
              </a:rPr>
              <a:t>Lokation A0</a:t>
            </a:r>
            <a:endParaRPr lang="en-US" sz="900" b="1" dirty="0" err="1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A08DF60-1599-40C5-BAD9-4F1BE04CACF3}"/>
              </a:ext>
            </a:extLst>
          </p:cNvPr>
          <p:cNvSpPr txBox="1"/>
          <p:nvPr/>
        </p:nvSpPr>
        <p:spPr>
          <a:xfrm>
            <a:off x="4315813" y="3366597"/>
            <a:ext cx="129931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900" b="1" dirty="0">
                <a:solidFill>
                  <a:srgbClr val="2D657D"/>
                </a:solidFill>
              </a:rPr>
              <a:t>Lokation B0</a:t>
            </a:r>
            <a:endParaRPr lang="en-US" sz="900" b="1" dirty="0" err="1">
              <a:solidFill>
                <a:srgbClr val="2D657D"/>
              </a:solidFill>
            </a:endParaRPr>
          </a:p>
        </p:txBody>
      </p:sp>
      <p:sp>
        <p:nvSpPr>
          <p:cNvPr id="87" name="Arc 86">
            <a:extLst>
              <a:ext uri="{FF2B5EF4-FFF2-40B4-BE49-F238E27FC236}">
                <a16:creationId xmlns:a16="http://schemas.microsoft.com/office/drawing/2014/main" id="{836505B1-9606-4CC4-833F-F55D2A2EB789}"/>
              </a:ext>
            </a:extLst>
          </p:cNvPr>
          <p:cNvSpPr/>
          <p:nvPr/>
        </p:nvSpPr>
        <p:spPr>
          <a:xfrm rot="12726750" flipH="1" flipV="1">
            <a:off x="2489780" y="3052394"/>
            <a:ext cx="2781325" cy="1092928"/>
          </a:xfrm>
          <a:prstGeom prst="arc">
            <a:avLst>
              <a:gd name="adj1" fmla="val 10631037"/>
              <a:gd name="adj2" fmla="val 12455696"/>
            </a:avLst>
          </a:prstGeom>
          <a:ln w="28575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9374900B-4A1D-4B50-8D2A-F1FEECC6C15A}"/>
              </a:ext>
            </a:extLst>
          </p:cNvPr>
          <p:cNvGrpSpPr/>
          <p:nvPr/>
        </p:nvGrpSpPr>
        <p:grpSpPr>
          <a:xfrm>
            <a:off x="2756413" y="4670109"/>
            <a:ext cx="3118800" cy="594367"/>
            <a:chOff x="2158749" y="4662710"/>
            <a:chExt cx="6076979" cy="1374618"/>
          </a:xfrm>
        </p:grpSpPr>
        <p:sp>
          <p:nvSpPr>
            <p:cNvPr id="89" name="Flowchart: Data 88">
              <a:extLst>
                <a:ext uri="{FF2B5EF4-FFF2-40B4-BE49-F238E27FC236}">
                  <a16:creationId xmlns:a16="http://schemas.microsoft.com/office/drawing/2014/main" id="{7440F691-4E60-431A-99FB-3EEC3EDB7B59}"/>
                </a:ext>
              </a:extLst>
            </p:cNvPr>
            <p:cNvSpPr/>
            <p:nvPr/>
          </p:nvSpPr>
          <p:spPr>
            <a:xfrm rot="10800000">
              <a:off x="2158749" y="4662710"/>
              <a:ext cx="3374167" cy="1374613"/>
            </a:xfrm>
            <a:prstGeom prst="flowChartInputOutput">
              <a:avLst/>
            </a:prstGeom>
            <a:solidFill>
              <a:schemeClr val="bg2">
                <a:lumMod val="90000"/>
                <a:alpha val="4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90" name="Flowchart: Data 89">
              <a:extLst>
                <a:ext uri="{FF2B5EF4-FFF2-40B4-BE49-F238E27FC236}">
                  <a16:creationId xmlns:a16="http://schemas.microsoft.com/office/drawing/2014/main" id="{31A5D4E6-F058-46DB-B7CD-CBFAD8BFB15A}"/>
                </a:ext>
              </a:extLst>
            </p:cNvPr>
            <p:cNvSpPr/>
            <p:nvPr/>
          </p:nvSpPr>
          <p:spPr>
            <a:xfrm rot="10800000">
              <a:off x="4861561" y="4662719"/>
              <a:ext cx="3374167" cy="1374609"/>
            </a:xfrm>
            <a:prstGeom prst="flowChartInputOutput">
              <a:avLst/>
            </a:prstGeom>
            <a:solidFill>
              <a:schemeClr val="accent4">
                <a:lumMod val="60000"/>
                <a:lumOff val="40000"/>
                <a:alpha val="4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noProof="0" dirty="0" err="1"/>
            </a:p>
          </p:txBody>
        </p:sp>
      </p:grpSp>
      <p:sp>
        <p:nvSpPr>
          <p:cNvPr id="91" name="Cube 90">
            <a:extLst>
              <a:ext uri="{FF2B5EF4-FFF2-40B4-BE49-F238E27FC236}">
                <a16:creationId xmlns:a16="http://schemas.microsoft.com/office/drawing/2014/main" id="{FE85F9B5-2C52-4409-B5B7-A06A016888A2}"/>
              </a:ext>
            </a:extLst>
          </p:cNvPr>
          <p:cNvSpPr/>
          <p:nvPr/>
        </p:nvSpPr>
        <p:spPr>
          <a:xfrm>
            <a:off x="3622250" y="4489084"/>
            <a:ext cx="803331" cy="323568"/>
          </a:xfrm>
          <a:prstGeom prst="cube">
            <a:avLst>
              <a:gd name="adj" fmla="val 6076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3" name="Cube 92">
            <a:extLst>
              <a:ext uri="{FF2B5EF4-FFF2-40B4-BE49-F238E27FC236}">
                <a16:creationId xmlns:a16="http://schemas.microsoft.com/office/drawing/2014/main" id="{B6AFD225-8121-459E-8B9A-360F66D51997}"/>
              </a:ext>
            </a:extLst>
          </p:cNvPr>
          <p:cNvSpPr/>
          <p:nvPr/>
        </p:nvSpPr>
        <p:spPr>
          <a:xfrm>
            <a:off x="3444876" y="4489084"/>
            <a:ext cx="223747" cy="502482"/>
          </a:xfrm>
          <a:prstGeom prst="cube">
            <a:avLst>
              <a:gd name="adj" fmla="val 81119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0A77E55-B2E5-48FB-A2E0-8D55F826358D}"/>
              </a:ext>
            </a:extLst>
          </p:cNvPr>
          <p:cNvSpPr txBox="1"/>
          <p:nvPr/>
        </p:nvSpPr>
        <p:spPr>
          <a:xfrm>
            <a:off x="2844221" y="5099268"/>
            <a:ext cx="129931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900" b="1" dirty="0">
                <a:solidFill>
                  <a:schemeClr val="accent6">
                    <a:lumMod val="75000"/>
                  </a:schemeClr>
                </a:solidFill>
              </a:rPr>
              <a:t>Lokation A0</a:t>
            </a:r>
            <a:endParaRPr lang="en-US" sz="900" b="1" dirty="0" err="1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CE2B9683-9267-45A6-9046-0AAF696A918B}"/>
              </a:ext>
            </a:extLst>
          </p:cNvPr>
          <p:cNvSpPr txBox="1"/>
          <p:nvPr/>
        </p:nvSpPr>
        <p:spPr>
          <a:xfrm>
            <a:off x="4103993" y="5106115"/>
            <a:ext cx="129931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900" b="1" dirty="0">
                <a:solidFill>
                  <a:srgbClr val="2D657D"/>
                </a:solidFill>
              </a:rPr>
              <a:t>Lokation B0</a:t>
            </a:r>
            <a:endParaRPr lang="en-US" sz="900" b="1" dirty="0" err="1">
              <a:solidFill>
                <a:srgbClr val="2D657D"/>
              </a:solidFill>
            </a:endParaRPr>
          </a:p>
        </p:txBody>
      </p:sp>
      <p:sp>
        <p:nvSpPr>
          <p:cNvPr id="97" name="Arc 96">
            <a:extLst>
              <a:ext uri="{FF2B5EF4-FFF2-40B4-BE49-F238E27FC236}">
                <a16:creationId xmlns:a16="http://schemas.microsoft.com/office/drawing/2014/main" id="{18F2066C-1C6E-4EB4-ADE3-9E0C391EDB70}"/>
              </a:ext>
            </a:extLst>
          </p:cNvPr>
          <p:cNvSpPr/>
          <p:nvPr/>
        </p:nvSpPr>
        <p:spPr>
          <a:xfrm rot="16200000" flipH="1" flipV="1">
            <a:off x="2642180" y="3204794"/>
            <a:ext cx="2781325" cy="1092928"/>
          </a:xfrm>
          <a:prstGeom prst="arc">
            <a:avLst>
              <a:gd name="adj1" fmla="val 16019736"/>
              <a:gd name="adj2" fmla="val 19304849"/>
            </a:avLst>
          </a:prstGeom>
          <a:ln w="28575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98" name="Cube 97">
            <a:extLst>
              <a:ext uri="{FF2B5EF4-FFF2-40B4-BE49-F238E27FC236}">
                <a16:creationId xmlns:a16="http://schemas.microsoft.com/office/drawing/2014/main" id="{85C4C224-F7BB-461B-940C-E683E9386544}"/>
              </a:ext>
            </a:extLst>
          </p:cNvPr>
          <p:cNvSpPr/>
          <p:nvPr/>
        </p:nvSpPr>
        <p:spPr>
          <a:xfrm>
            <a:off x="4414528" y="4487333"/>
            <a:ext cx="981967" cy="323568"/>
          </a:xfrm>
          <a:prstGeom prst="cube">
            <a:avLst>
              <a:gd name="adj" fmla="val 6076"/>
            </a:avLst>
          </a:prstGeom>
          <a:solidFill>
            <a:srgbClr val="7195A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92" name="Cube 91">
            <a:extLst>
              <a:ext uri="{FF2B5EF4-FFF2-40B4-BE49-F238E27FC236}">
                <a16:creationId xmlns:a16="http://schemas.microsoft.com/office/drawing/2014/main" id="{87D527F6-532E-454C-A986-A34C0E97E096}"/>
              </a:ext>
            </a:extLst>
          </p:cNvPr>
          <p:cNvSpPr/>
          <p:nvPr/>
        </p:nvSpPr>
        <p:spPr>
          <a:xfrm>
            <a:off x="5172749" y="4489084"/>
            <a:ext cx="223747" cy="502482"/>
          </a:xfrm>
          <a:prstGeom prst="cube">
            <a:avLst>
              <a:gd name="adj" fmla="val 81119"/>
            </a:avLst>
          </a:prstGeom>
          <a:solidFill>
            <a:srgbClr val="7195A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5A1E0723-ABC0-464B-AEE6-2F9A28C50F02}"/>
              </a:ext>
            </a:extLst>
          </p:cNvPr>
          <p:cNvCxnSpPr>
            <a:cxnSpLocks/>
          </p:cNvCxnSpPr>
          <p:nvPr/>
        </p:nvCxnSpPr>
        <p:spPr>
          <a:xfrm>
            <a:off x="4415104" y="4375902"/>
            <a:ext cx="0" cy="483544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Subtitle 2">
            <a:extLst>
              <a:ext uri="{FF2B5EF4-FFF2-40B4-BE49-F238E27FC236}">
                <a16:creationId xmlns:a16="http://schemas.microsoft.com/office/drawing/2014/main" id="{0393CFCF-8D8D-4CD0-9228-02372C2FCD58}"/>
              </a:ext>
            </a:extLst>
          </p:cNvPr>
          <p:cNvSpPr txBox="1">
            <a:spLocks/>
          </p:cNvSpPr>
          <p:nvPr/>
        </p:nvSpPr>
        <p:spPr>
          <a:xfrm>
            <a:off x="9393032" y="2368866"/>
            <a:ext cx="1588291" cy="432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da-DK" sz="1100" dirty="0" err="1">
                <a:latin typeface="+mn-lt"/>
              </a:rPr>
              <a:t>Revit</a:t>
            </a:r>
            <a:r>
              <a:rPr lang="da-DK" sz="1100" dirty="0">
                <a:latin typeface="+mn-lt"/>
              </a:rPr>
              <a:t> </a:t>
            </a:r>
            <a:br>
              <a:rPr lang="da-DK" sz="1100" dirty="0">
                <a:latin typeface="+mn-lt"/>
              </a:rPr>
            </a:br>
            <a:r>
              <a:rPr lang="da-DK" sz="1100" dirty="0">
                <a:latin typeface="+mn-lt"/>
              </a:rPr>
              <a:t>Egenskaber</a:t>
            </a:r>
          </a:p>
        </p:txBody>
      </p:sp>
      <p:sp>
        <p:nvSpPr>
          <p:cNvPr id="100" name="Subtitle 2">
            <a:extLst>
              <a:ext uri="{FF2B5EF4-FFF2-40B4-BE49-F238E27FC236}">
                <a16:creationId xmlns:a16="http://schemas.microsoft.com/office/drawing/2014/main" id="{893F16F2-2753-46A6-9640-5A568093003B}"/>
              </a:ext>
            </a:extLst>
          </p:cNvPr>
          <p:cNvSpPr txBox="1">
            <a:spLocks/>
          </p:cNvSpPr>
          <p:nvPr/>
        </p:nvSpPr>
        <p:spPr>
          <a:xfrm>
            <a:off x="9393032" y="2880913"/>
            <a:ext cx="1588291" cy="432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da-DK" sz="1100" dirty="0" err="1">
                <a:latin typeface="+mn-lt"/>
              </a:rPr>
              <a:t>Topology</a:t>
            </a:r>
            <a:r>
              <a:rPr lang="da-DK" sz="1100" dirty="0">
                <a:latin typeface="+mn-lt"/>
              </a:rPr>
              <a:t> </a:t>
            </a:r>
            <a:br>
              <a:rPr lang="da-DK" sz="1100" dirty="0">
                <a:latin typeface="+mn-lt"/>
              </a:rPr>
            </a:br>
            <a:r>
              <a:rPr lang="da-DK" sz="1100" dirty="0">
                <a:latin typeface="+mn-lt"/>
              </a:rPr>
              <a:t>(Etage, Lokation)</a:t>
            </a:r>
          </a:p>
        </p:txBody>
      </p:sp>
      <p:sp>
        <p:nvSpPr>
          <p:cNvPr id="101" name="Subtitle 2">
            <a:extLst>
              <a:ext uri="{FF2B5EF4-FFF2-40B4-BE49-F238E27FC236}">
                <a16:creationId xmlns:a16="http://schemas.microsoft.com/office/drawing/2014/main" id="{006CB889-E7D5-474B-9175-A025660338F2}"/>
              </a:ext>
            </a:extLst>
          </p:cNvPr>
          <p:cNvSpPr txBox="1">
            <a:spLocks/>
          </p:cNvSpPr>
          <p:nvPr/>
        </p:nvSpPr>
        <p:spPr>
          <a:xfrm>
            <a:off x="9417419" y="3402370"/>
            <a:ext cx="1588291" cy="432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da-DK" sz="1100" dirty="0">
                <a:latin typeface="+mn-lt"/>
              </a:rPr>
              <a:t>Relation til ”</a:t>
            </a:r>
            <a:r>
              <a:rPr lang="da-DK" sz="1100" dirty="0" err="1">
                <a:latin typeface="+mn-lt"/>
              </a:rPr>
              <a:t>Parent</a:t>
            </a:r>
            <a:r>
              <a:rPr lang="da-DK" sz="1100" dirty="0">
                <a:latin typeface="+mn-lt"/>
              </a:rPr>
              <a:t>-Element”</a:t>
            </a:r>
          </a:p>
        </p:txBody>
      </p:sp>
      <p:sp>
        <p:nvSpPr>
          <p:cNvPr id="105" name="Subtitle 2">
            <a:extLst>
              <a:ext uri="{FF2B5EF4-FFF2-40B4-BE49-F238E27FC236}">
                <a16:creationId xmlns:a16="http://schemas.microsoft.com/office/drawing/2014/main" id="{C6C1E4B7-ACF2-4714-90D5-428F3E6AA131}"/>
              </a:ext>
            </a:extLst>
          </p:cNvPr>
          <p:cNvSpPr txBox="1">
            <a:spLocks/>
          </p:cNvSpPr>
          <p:nvPr/>
        </p:nvSpPr>
        <p:spPr>
          <a:xfrm>
            <a:off x="9416844" y="3944819"/>
            <a:ext cx="1588291" cy="432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da-DK" sz="1100" dirty="0" err="1">
                <a:latin typeface="+mn-lt"/>
              </a:rPr>
              <a:t>Bygningsdeltyper</a:t>
            </a:r>
            <a:r>
              <a:rPr lang="da-DK" sz="1100" dirty="0">
                <a:latin typeface="+mn-lt"/>
              </a:rPr>
              <a:t> (fx klassifikation)</a:t>
            </a:r>
          </a:p>
        </p:txBody>
      </p:sp>
      <p:sp>
        <p:nvSpPr>
          <p:cNvPr id="106" name="Arc 105">
            <a:extLst>
              <a:ext uri="{FF2B5EF4-FFF2-40B4-BE49-F238E27FC236}">
                <a16:creationId xmlns:a16="http://schemas.microsoft.com/office/drawing/2014/main" id="{1510807C-8FD1-4DF5-951E-8ED686F403FA}"/>
              </a:ext>
            </a:extLst>
          </p:cNvPr>
          <p:cNvSpPr/>
          <p:nvPr/>
        </p:nvSpPr>
        <p:spPr>
          <a:xfrm rot="9851551" flipH="1">
            <a:off x="4187482" y="3184653"/>
            <a:ext cx="2781325" cy="1355316"/>
          </a:xfrm>
          <a:prstGeom prst="arc">
            <a:avLst>
              <a:gd name="adj1" fmla="val 16019736"/>
              <a:gd name="adj2" fmla="val 19657444"/>
            </a:avLst>
          </a:prstGeom>
          <a:ln w="28575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107" name="Subtitle 2">
            <a:extLst>
              <a:ext uri="{FF2B5EF4-FFF2-40B4-BE49-F238E27FC236}">
                <a16:creationId xmlns:a16="http://schemas.microsoft.com/office/drawing/2014/main" id="{925A46BF-C2DF-4A1C-AB2E-D83FE2838041}"/>
              </a:ext>
            </a:extLst>
          </p:cNvPr>
          <p:cNvSpPr txBox="1">
            <a:spLocks/>
          </p:cNvSpPr>
          <p:nvPr/>
        </p:nvSpPr>
        <p:spPr>
          <a:xfrm>
            <a:off x="6729757" y="1888802"/>
            <a:ext cx="152467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da-DK" sz="1600" b="1" dirty="0"/>
              <a:t>Resultat</a:t>
            </a:r>
            <a:endParaRPr lang="en-US" sz="1600" b="1" dirty="0"/>
          </a:p>
        </p:txBody>
      </p:sp>
      <p:sp>
        <p:nvSpPr>
          <p:cNvPr id="108" name="Subtitle 2">
            <a:extLst>
              <a:ext uri="{FF2B5EF4-FFF2-40B4-BE49-F238E27FC236}">
                <a16:creationId xmlns:a16="http://schemas.microsoft.com/office/drawing/2014/main" id="{0E79D265-A157-4B83-8398-93F42DE0980E}"/>
              </a:ext>
            </a:extLst>
          </p:cNvPr>
          <p:cNvSpPr txBox="1">
            <a:spLocks/>
          </p:cNvSpPr>
          <p:nvPr/>
        </p:nvSpPr>
        <p:spPr>
          <a:xfrm>
            <a:off x="1063160" y="1883601"/>
            <a:ext cx="152467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da-DK" sz="1600" b="1" dirty="0"/>
              <a:t>BIM Modeller</a:t>
            </a:r>
            <a:endParaRPr lang="en-US" sz="1600" b="1" dirty="0"/>
          </a:p>
        </p:txBody>
      </p:sp>
      <p:sp>
        <p:nvSpPr>
          <p:cNvPr id="109" name="Subtitle 2">
            <a:extLst>
              <a:ext uri="{FF2B5EF4-FFF2-40B4-BE49-F238E27FC236}">
                <a16:creationId xmlns:a16="http://schemas.microsoft.com/office/drawing/2014/main" id="{152C19CD-4CAB-4024-99DD-CB9CEFDB7031}"/>
              </a:ext>
            </a:extLst>
          </p:cNvPr>
          <p:cNvSpPr txBox="1">
            <a:spLocks/>
          </p:cNvSpPr>
          <p:nvPr/>
        </p:nvSpPr>
        <p:spPr>
          <a:xfrm>
            <a:off x="3937571" y="1889217"/>
            <a:ext cx="152467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da-DK" sz="1600" b="1" dirty="0"/>
              <a:t>Automatisk LBS-Opdeling</a:t>
            </a:r>
            <a:endParaRPr lang="en-US" sz="1600" b="1" dirty="0"/>
          </a:p>
        </p:txBody>
      </p:sp>
      <p:sp>
        <p:nvSpPr>
          <p:cNvPr id="110" name="Subtitle 2">
            <a:extLst>
              <a:ext uri="{FF2B5EF4-FFF2-40B4-BE49-F238E27FC236}">
                <a16:creationId xmlns:a16="http://schemas.microsoft.com/office/drawing/2014/main" id="{D479D57E-0250-43FB-97C9-B3773381B5A3}"/>
              </a:ext>
            </a:extLst>
          </p:cNvPr>
          <p:cNvSpPr txBox="1">
            <a:spLocks/>
          </p:cNvSpPr>
          <p:nvPr/>
        </p:nvSpPr>
        <p:spPr>
          <a:xfrm>
            <a:off x="9289026" y="1885720"/>
            <a:ext cx="152467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da-DK" sz="1600" b="1" dirty="0"/>
              <a:t>Mængdeudtræk</a:t>
            </a:r>
            <a:endParaRPr lang="en-US" sz="1600" b="1" dirty="0"/>
          </a:p>
        </p:txBody>
      </p:sp>
      <p:pic>
        <p:nvPicPr>
          <p:cNvPr id="111" name="Picture 2">
            <a:extLst>
              <a:ext uri="{FF2B5EF4-FFF2-40B4-BE49-F238E27FC236}">
                <a16:creationId xmlns:a16="http://schemas.microsoft.com/office/drawing/2014/main" id="{6D0FF796-2D68-4025-8F3D-069B2C14BA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4837" y="2793741"/>
            <a:ext cx="3025192" cy="2374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4" name="Arc 113">
            <a:extLst>
              <a:ext uri="{FF2B5EF4-FFF2-40B4-BE49-F238E27FC236}">
                <a16:creationId xmlns:a16="http://schemas.microsoft.com/office/drawing/2014/main" id="{546918C5-72FB-4C11-AAAD-F7EFA920FBC2}"/>
              </a:ext>
            </a:extLst>
          </p:cNvPr>
          <p:cNvSpPr/>
          <p:nvPr/>
        </p:nvSpPr>
        <p:spPr>
          <a:xfrm rot="10022969" flipH="1" flipV="1">
            <a:off x="8273902" y="2876983"/>
            <a:ext cx="1285142" cy="854611"/>
          </a:xfrm>
          <a:prstGeom prst="arc">
            <a:avLst>
              <a:gd name="adj1" fmla="val 14350312"/>
              <a:gd name="adj2" fmla="val 18457956"/>
            </a:avLst>
          </a:prstGeom>
          <a:ln w="28575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sp>
        <p:nvSpPr>
          <p:cNvPr id="47" name="Arc 46">
            <a:extLst>
              <a:ext uri="{FF2B5EF4-FFF2-40B4-BE49-F238E27FC236}">
                <a16:creationId xmlns:a16="http://schemas.microsoft.com/office/drawing/2014/main" id="{F0425435-C13C-4025-8425-C0075AE7F943}"/>
              </a:ext>
            </a:extLst>
          </p:cNvPr>
          <p:cNvSpPr/>
          <p:nvPr/>
        </p:nvSpPr>
        <p:spPr>
          <a:xfrm rot="15737540" flipH="1" flipV="1">
            <a:off x="8999040" y="3816276"/>
            <a:ext cx="2781325" cy="1092928"/>
          </a:xfrm>
          <a:prstGeom prst="arc">
            <a:avLst>
              <a:gd name="adj1" fmla="val 17477054"/>
              <a:gd name="adj2" fmla="val 19650558"/>
            </a:avLst>
          </a:prstGeom>
          <a:ln w="28575">
            <a:solidFill>
              <a:srgbClr val="595959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sz="1200"/>
          </a:p>
        </p:txBody>
      </p:sp>
      <p:pic>
        <p:nvPicPr>
          <p:cNvPr id="48" name="Graphic 47" descr="Database outline">
            <a:extLst>
              <a:ext uri="{FF2B5EF4-FFF2-40B4-BE49-F238E27FC236}">
                <a16:creationId xmlns:a16="http://schemas.microsoft.com/office/drawing/2014/main" id="{93843257-66E9-4EA7-A1F9-613FA672B21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32464" y="5264475"/>
            <a:ext cx="914400" cy="914400"/>
          </a:xfrm>
          <a:prstGeom prst="rect">
            <a:avLst/>
          </a:prstGeom>
        </p:spPr>
      </p:pic>
      <p:sp>
        <p:nvSpPr>
          <p:cNvPr id="49" name="Subtitle 2">
            <a:extLst>
              <a:ext uri="{FF2B5EF4-FFF2-40B4-BE49-F238E27FC236}">
                <a16:creationId xmlns:a16="http://schemas.microsoft.com/office/drawing/2014/main" id="{4EEC38E6-175E-4AC8-BA2D-23448F114BDD}"/>
              </a:ext>
            </a:extLst>
          </p:cNvPr>
          <p:cNvSpPr txBox="1">
            <a:spLocks/>
          </p:cNvSpPr>
          <p:nvPr/>
        </p:nvSpPr>
        <p:spPr>
          <a:xfrm>
            <a:off x="10299220" y="5119194"/>
            <a:ext cx="1102437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da-DK" sz="1200" dirty="0" err="1"/>
              <a:t>Export</a:t>
            </a:r>
            <a:endParaRPr lang="da-DK" sz="1200" dirty="0"/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95B385F7-1189-4806-BAD0-2A73C9208D16}"/>
              </a:ext>
            </a:extLst>
          </p:cNvPr>
          <p:cNvSpPr txBox="1">
            <a:spLocks/>
          </p:cNvSpPr>
          <p:nvPr/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buNone/>
            </a:pPr>
            <a:r>
              <a:rPr lang="da-DK" sz="4400" dirty="0"/>
              <a:t>Lokationsopdeling og Mængdeudtræk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22382160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D5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67FF7DE-6152-4B51-A0A2-C9DB1009E460}"/>
              </a:ext>
            </a:extLst>
          </p:cNvPr>
          <p:cNvSpPr txBox="1"/>
          <p:nvPr/>
        </p:nvSpPr>
        <p:spPr>
          <a:xfrm>
            <a:off x="3048000" y="3105835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hlinkClick r:id="rId3"/>
              </a:rPr>
              <a:t>https://drive.google.com/file/d/1DQCIMiBTyXUgu-egCqM4krTQ_1Lz19Mz/view?usp=sharing</a:t>
            </a:r>
            <a:endParaRPr lang="en-US" dirty="0"/>
          </a:p>
        </p:txBody>
      </p:sp>
      <p:pic>
        <p:nvPicPr>
          <p:cNvPr id="5" name="Graphic 4" descr="Clapper board with solid fill">
            <a:extLst>
              <a:ext uri="{FF2B5EF4-FFF2-40B4-BE49-F238E27FC236}">
                <a16:creationId xmlns:a16="http://schemas.microsoft.com/office/drawing/2014/main" id="{6DCF6A1D-07E8-47E4-9E8E-6D089CF382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38800" y="205740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5264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5ABD02F-3D2D-482F-BCB5-838ECCAD8E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14300" y="-800101"/>
            <a:ext cx="12420600" cy="8791051"/>
          </a:xfrm>
          <a:prstGeom prst="rect">
            <a:avLst/>
          </a:prstGeom>
          <a:solidFill>
            <a:srgbClr val="FFFFFF">
              <a:shade val="85000"/>
            </a:srgbClr>
          </a:solidFill>
          <a:ln w="9525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9" name="Title 3">
            <a:extLst>
              <a:ext uri="{FF2B5EF4-FFF2-40B4-BE49-F238E27FC236}">
                <a16:creationId xmlns:a16="http://schemas.microsoft.com/office/drawing/2014/main" id="{53884263-01D4-48C9-A3A6-1CE7CA9F1B5E}"/>
              </a:ext>
            </a:extLst>
          </p:cNvPr>
          <p:cNvSpPr txBox="1">
            <a:spLocks/>
          </p:cNvSpPr>
          <p:nvPr/>
        </p:nvSpPr>
        <p:spPr>
          <a:xfrm>
            <a:off x="427039" y="284118"/>
            <a:ext cx="7506451" cy="5320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1600" b="1" dirty="0">
                <a:solidFill>
                  <a:prstClr val="black"/>
                </a:solidFill>
                <a:latin typeface="Aktiv Grotesk Light" panose="020B0304020202020204" pitchFamily="34" charset="0"/>
                <a:ea typeface="Aktiv Grotesk Light" panose="020B0304020202020204" pitchFamily="34" charset="0"/>
                <a:cs typeface="Aktiv Grotesk Light" panose="020B0304020202020204" pitchFamily="34" charset="0"/>
              </a:rPr>
              <a:t>Bygepladsplaner</a:t>
            </a:r>
            <a:br>
              <a:rPr lang="da-DK" sz="1600" dirty="0">
                <a:solidFill>
                  <a:prstClr val="black"/>
                </a:solidFill>
                <a:latin typeface="Aktiv Grotesk Light" panose="020B0304020202020204"/>
              </a:rPr>
            </a:br>
            <a:br>
              <a:rPr lang="da-DK" sz="1600" dirty="0">
                <a:solidFill>
                  <a:prstClr val="black"/>
                </a:solidFill>
                <a:latin typeface="Aktiv Grotesk Light" panose="020B0304020202020204"/>
              </a:rPr>
            </a:br>
            <a:endParaRPr lang="da-DK" sz="1600" b="1" dirty="0">
              <a:solidFill>
                <a:prstClr val="black"/>
              </a:solidFill>
              <a:latin typeface="Aktiv Grotesk Light" panose="020B0304020202020204" pitchFamily="34" charset="0"/>
              <a:ea typeface="Aktiv Grotesk Light" panose="020B0304020202020204" pitchFamily="34" charset="0"/>
              <a:cs typeface="Aktiv Grotesk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22480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dsholder til billede 5">
            <a:extLst>
              <a:ext uri="{FF2B5EF4-FFF2-40B4-BE49-F238E27FC236}">
                <a16:creationId xmlns:a16="http://schemas.microsoft.com/office/drawing/2014/main" id="{A09AE936-83C6-4A7E-9B1D-8FD4E2A5FDA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0247" b="10247"/>
          <a:stretch>
            <a:fillRect/>
          </a:stretch>
        </p:blipFill>
        <p:spPr>
          <a:xfrm>
            <a:off x="0" y="0"/>
            <a:ext cx="12193588" cy="686117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F5B5F75-D508-4992-ADAE-E502D6B19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12" name="Graphic 4">
            <a:extLst>
              <a:ext uri="{FF2B5EF4-FFF2-40B4-BE49-F238E27FC236}">
                <a16:creationId xmlns:a16="http://schemas.microsoft.com/office/drawing/2014/main" id="{C95760AB-B8BD-4807-900C-2DF6426C5F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47850" y="6217327"/>
            <a:ext cx="1080000" cy="34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0910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Billede 38">
            <a:extLst>
              <a:ext uri="{FF2B5EF4-FFF2-40B4-BE49-F238E27FC236}">
                <a16:creationId xmlns:a16="http://schemas.microsoft.com/office/drawing/2014/main" id="{8945553A-0C94-4A3C-95F7-E864321F1C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737612">
            <a:off x="2005703" y="5027287"/>
            <a:ext cx="1280834" cy="1098680"/>
          </a:xfrm>
          <a:prstGeom prst="rect">
            <a:avLst/>
          </a:prstGeom>
        </p:spPr>
      </p:pic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Lokationer</a:t>
            </a:r>
            <a:endParaRPr lang="en-US" dirty="0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9004C975-D794-44F4-9995-D9EE8A569E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01004" y="2038996"/>
            <a:ext cx="4389991" cy="4536199"/>
          </a:xfrm>
          <a:prstGeom prst="rect">
            <a:avLst/>
          </a:prstGeom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id="{7F8BB6EB-BD7A-4867-B6D0-A7E00ADC5FE3}"/>
              </a:ext>
            </a:extLst>
          </p:cNvPr>
          <p:cNvSpPr txBox="1"/>
          <p:nvPr/>
        </p:nvSpPr>
        <p:spPr>
          <a:xfrm>
            <a:off x="3901004" y="6498000"/>
            <a:ext cx="1745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VAL_PD_GEN_K99_0001.pdf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19AD1142-F450-4BDF-8EC2-508740CB5D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1191" y="1393738"/>
            <a:ext cx="1056412" cy="1264230"/>
          </a:xfrm>
          <a:prstGeom prst="rect">
            <a:avLst/>
          </a:prstGeom>
        </p:spPr>
      </p:pic>
      <p:sp>
        <p:nvSpPr>
          <p:cNvPr id="8" name="Rektangel: afrundede hjørner 7">
            <a:extLst>
              <a:ext uri="{FF2B5EF4-FFF2-40B4-BE49-F238E27FC236}">
                <a16:creationId xmlns:a16="http://schemas.microsoft.com/office/drawing/2014/main" id="{3F0A8AA5-0BC1-4711-831F-8456BD61DD47}"/>
              </a:ext>
            </a:extLst>
          </p:cNvPr>
          <p:cNvSpPr/>
          <p:nvPr/>
        </p:nvSpPr>
        <p:spPr>
          <a:xfrm>
            <a:off x="503741" y="1275979"/>
            <a:ext cx="2949242" cy="2768600"/>
          </a:xfrm>
          <a:prstGeom prst="roundRect">
            <a:avLst>
              <a:gd name="adj" fmla="val 4650"/>
            </a:avLst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9E192CD9-AEA5-4724-B3EA-1D9F7E4E1D70}"/>
              </a:ext>
            </a:extLst>
          </p:cNvPr>
          <p:cNvSpPr txBox="1"/>
          <p:nvPr/>
        </p:nvSpPr>
        <p:spPr>
          <a:xfrm>
            <a:off x="553138" y="2645268"/>
            <a:ext cx="14837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VAL_PD_FLS_K09_3200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0D8259D3-F4A0-43FD-B3B5-424389FA49D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9488"/>
          <a:stretch/>
        </p:blipFill>
        <p:spPr>
          <a:xfrm>
            <a:off x="2101192" y="1431500"/>
            <a:ext cx="1056412" cy="1226468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F869A5D8-E4DC-4C1D-93DA-ECB12BC18F2F}"/>
              </a:ext>
            </a:extLst>
          </p:cNvPr>
          <p:cNvSpPr txBox="1"/>
          <p:nvPr/>
        </p:nvSpPr>
        <p:spPr>
          <a:xfrm>
            <a:off x="1920951" y="2639728"/>
            <a:ext cx="14837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VAL_PD_FLS_K09_1200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9978E28B-0987-4389-887F-CD642B1E90F4}"/>
              </a:ext>
            </a:extLst>
          </p:cNvPr>
          <p:cNvSpPr txBox="1"/>
          <p:nvPr/>
        </p:nvSpPr>
        <p:spPr>
          <a:xfrm>
            <a:off x="494566" y="989612"/>
            <a:ext cx="14837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FFC000"/>
                </a:solidFill>
              </a:rPr>
              <a:t>FLS (FLST)</a:t>
            </a:r>
          </a:p>
        </p:txBody>
      </p:sp>
      <p:sp>
        <p:nvSpPr>
          <p:cNvPr id="19" name="Rektangel: afrundede hjørner 18">
            <a:extLst>
              <a:ext uri="{FF2B5EF4-FFF2-40B4-BE49-F238E27FC236}">
                <a16:creationId xmlns:a16="http://schemas.microsoft.com/office/drawing/2014/main" id="{7E58A6F4-E912-43D3-8150-F87FAE268B70}"/>
              </a:ext>
            </a:extLst>
          </p:cNvPr>
          <p:cNvSpPr/>
          <p:nvPr/>
        </p:nvSpPr>
        <p:spPr>
          <a:xfrm>
            <a:off x="523207" y="4762871"/>
            <a:ext cx="2949242" cy="1638300"/>
          </a:xfrm>
          <a:prstGeom prst="roundRect">
            <a:avLst>
              <a:gd name="adj" fmla="val 4650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4444A55C-7E73-4C0C-961F-C4462D0DE541}"/>
              </a:ext>
            </a:extLst>
          </p:cNvPr>
          <p:cNvSpPr txBox="1"/>
          <p:nvPr/>
        </p:nvSpPr>
        <p:spPr>
          <a:xfrm>
            <a:off x="572604" y="6132160"/>
            <a:ext cx="14837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VAL_PD_BLU_K09_3200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56CE4EB1-22C5-4D78-9B34-B43DD3679353}"/>
              </a:ext>
            </a:extLst>
          </p:cNvPr>
          <p:cNvSpPr txBox="1"/>
          <p:nvPr/>
        </p:nvSpPr>
        <p:spPr>
          <a:xfrm>
            <a:off x="1940417" y="6126620"/>
            <a:ext cx="14837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VAL_PD_BLU_K09_1200</a:t>
            </a: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1A5A5EEC-C9C7-4B3E-9D37-9B29F78D5219}"/>
              </a:ext>
            </a:extLst>
          </p:cNvPr>
          <p:cNvSpPr txBox="1"/>
          <p:nvPr/>
        </p:nvSpPr>
        <p:spPr>
          <a:xfrm>
            <a:off x="514032" y="4476504"/>
            <a:ext cx="14837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FF0000"/>
                </a:solidFill>
              </a:rPr>
              <a:t>BLU</a:t>
            </a:r>
          </a:p>
        </p:txBody>
      </p:sp>
      <p:cxnSp>
        <p:nvCxnSpPr>
          <p:cNvPr id="14" name="Lige pilforbindelse 13">
            <a:extLst>
              <a:ext uri="{FF2B5EF4-FFF2-40B4-BE49-F238E27FC236}">
                <a16:creationId xmlns:a16="http://schemas.microsoft.com/office/drawing/2014/main" id="{9AFD1218-47CA-40CE-A160-B600EDCC5D1A}"/>
              </a:ext>
            </a:extLst>
          </p:cNvPr>
          <p:cNvCxnSpPr>
            <a:cxnSpLocks/>
            <a:stCxn id="8" idx="3"/>
          </p:cNvCxnSpPr>
          <p:nvPr/>
        </p:nvCxnSpPr>
        <p:spPr>
          <a:xfrm flipV="1">
            <a:off x="3452983" y="2413000"/>
            <a:ext cx="763417" cy="247279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ktangel: afrundede hjørner 27">
            <a:extLst>
              <a:ext uri="{FF2B5EF4-FFF2-40B4-BE49-F238E27FC236}">
                <a16:creationId xmlns:a16="http://schemas.microsoft.com/office/drawing/2014/main" id="{378C6640-9C7B-437A-92AE-58A7A6BCECFC}"/>
              </a:ext>
            </a:extLst>
          </p:cNvPr>
          <p:cNvSpPr/>
          <p:nvPr/>
        </p:nvSpPr>
        <p:spPr>
          <a:xfrm>
            <a:off x="4099983" y="2247900"/>
            <a:ext cx="345017" cy="404239"/>
          </a:xfrm>
          <a:prstGeom prst="roundRect">
            <a:avLst>
              <a:gd name="adj" fmla="val 4650"/>
            </a:avLst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Billede 32">
            <a:extLst>
              <a:ext uri="{FF2B5EF4-FFF2-40B4-BE49-F238E27FC236}">
                <a16:creationId xmlns:a16="http://schemas.microsoft.com/office/drawing/2014/main" id="{545D5A73-11C8-4157-A6ED-A65C680375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6954" y="2956445"/>
            <a:ext cx="2556479" cy="860041"/>
          </a:xfrm>
          <a:prstGeom prst="rect">
            <a:avLst/>
          </a:prstGeom>
        </p:spPr>
      </p:pic>
      <p:sp>
        <p:nvSpPr>
          <p:cNvPr id="34" name="Tekstfelt 33">
            <a:extLst>
              <a:ext uri="{FF2B5EF4-FFF2-40B4-BE49-F238E27FC236}">
                <a16:creationId xmlns:a16="http://schemas.microsoft.com/office/drawing/2014/main" id="{B39375D5-DCDA-42B3-98D7-517E3B9D9ED2}"/>
              </a:ext>
            </a:extLst>
          </p:cNvPr>
          <p:cNvSpPr txBox="1"/>
          <p:nvPr/>
        </p:nvSpPr>
        <p:spPr>
          <a:xfrm>
            <a:off x="553138" y="3773664"/>
            <a:ext cx="16319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VAL_PD_FLST_K09_1202</a:t>
            </a:r>
          </a:p>
        </p:txBody>
      </p:sp>
      <p:pic>
        <p:nvPicPr>
          <p:cNvPr id="41" name="Billede 40">
            <a:extLst>
              <a:ext uri="{FF2B5EF4-FFF2-40B4-BE49-F238E27FC236}">
                <a16:creationId xmlns:a16="http://schemas.microsoft.com/office/drawing/2014/main" id="{6FF3F0B8-8506-4FD1-8752-C715831E3FE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6658" y="4877478"/>
            <a:ext cx="1185503" cy="1237634"/>
          </a:xfrm>
          <a:prstGeom prst="rect">
            <a:avLst/>
          </a:prstGeom>
        </p:spPr>
      </p:pic>
      <p:sp>
        <p:nvSpPr>
          <p:cNvPr id="43" name="Rektangel: afrundede hjørner 42">
            <a:extLst>
              <a:ext uri="{FF2B5EF4-FFF2-40B4-BE49-F238E27FC236}">
                <a16:creationId xmlns:a16="http://schemas.microsoft.com/office/drawing/2014/main" id="{814A8442-D579-4412-AC7E-6C0D0AE547B8}"/>
              </a:ext>
            </a:extLst>
          </p:cNvPr>
          <p:cNvSpPr/>
          <p:nvPr/>
        </p:nvSpPr>
        <p:spPr>
          <a:xfrm>
            <a:off x="4216400" y="279415"/>
            <a:ext cx="2949242" cy="1638300"/>
          </a:xfrm>
          <a:prstGeom prst="roundRect">
            <a:avLst>
              <a:gd name="adj" fmla="val 4650"/>
            </a:avLst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kstfelt 43">
            <a:extLst>
              <a:ext uri="{FF2B5EF4-FFF2-40B4-BE49-F238E27FC236}">
                <a16:creationId xmlns:a16="http://schemas.microsoft.com/office/drawing/2014/main" id="{2F091677-1E12-4CC1-B836-C941C1BAC7AE}"/>
              </a:ext>
            </a:extLst>
          </p:cNvPr>
          <p:cNvSpPr txBox="1"/>
          <p:nvPr/>
        </p:nvSpPr>
        <p:spPr>
          <a:xfrm>
            <a:off x="4265797" y="1648704"/>
            <a:ext cx="14837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VAL_PD_BLUT_K09_???</a:t>
            </a:r>
          </a:p>
        </p:txBody>
      </p:sp>
      <p:sp>
        <p:nvSpPr>
          <p:cNvPr id="46" name="Tekstfelt 45">
            <a:extLst>
              <a:ext uri="{FF2B5EF4-FFF2-40B4-BE49-F238E27FC236}">
                <a16:creationId xmlns:a16="http://schemas.microsoft.com/office/drawing/2014/main" id="{C204122A-21D6-426E-875E-B9DE179710F0}"/>
              </a:ext>
            </a:extLst>
          </p:cNvPr>
          <p:cNvSpPr txBox="1"/>
          <p:nvPr/>
        </p:nvSpPr>
        <p:spPr>
          <a:xfrm>
            <a:off x="4207225" y="-6952"/>
            <a:ext cx="2958418" cy="317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7030A0"/>
                </a:solidFill>
              </a:rPr>
              <a:t>BLUT1/2 + BLUM1/2</a:t>
            </a:r>
          </a:p>
        </p:txBody>
      </p:sp>
      <p:sp>
        <p:nvSpPr>
          <p:cNvPr id="48" name="Rektangel: afrundede hjørner 47">
            <a:extLst>
              <a:ext uri="{FF2B5EF4-FFF2-40B4-BE49-F238E27FC236}">
                <a16:creationId xmlns:a16="http://schemas.microsoft.com/office/drawing/2014/main" id="{D0E74BF8-A349-4D67-A078-4E7DCE97B9D5}"/>
              </a:ext>
            </a:extLst>
          </p:cNvPr>
          <p:cNvSpPr/>
          <p:nvPr/>
        </p:nvSpPr>
        <p:spPr>
          <a:xfrm>
            <a:off x="4368886" y="4090988"/>
            <a:ext cx="345017" cy="202187"/>
          </a:xfrm>
          <a:prstGeom prst="roundRect">
            <a:avLst>
              <a:gd name="adj" fmla="val 4650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ktangel: afrundede hjørner 48">
            <a:extLst>
              <a:ext uri="{FF2B5EF4-FFF2-40B4-BE49-F238E27FC236}">
                <a16:creationId xmlns:a16="http://schemas.microsoft.com/office/drawing/2014/main" id="{A6104308-A909-4B7B-90FD-B07359DC3136}"/>
              </a:ext>
            </a:extLst>
          </p:cNvPr>
          <p:cNvSpPr/>
          <p:nvPr/>
        </p:nvSpPr>
        <p:spPr>
          <a:xfrm>
            <a:off x="3997411" y="3877464"/>
            <a:ext cx="716492" cy="202187"/>
          </a:xfrm>
          <a:prstGeom prst="roundRect">
            <a:avLst>
              <a:gd name="adj" fmla="val 4650"/>
            </a:avLst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" name="Lige pilforbindelse 49">
            <a:extLst>
              <a:ext uri="{FF2B5EF4-FFF2-40B4-BE49-F238E27FC236}">
                <a16:creationId xmlns:a16="http://schemas.microsoft.com/office/drawing/2014/main" id="{D2AE5D11-FE2A-48D8-B0B6-5F5F2DBADF55}"/>
              </a:ext>
            </a:extLst>
          </p:cNvPr>
          <p:cNvCxnSpPr>
            <a:cxnSpLocks/>
            <a:stCxn id="19" idx="3"/>
            <a:endCxn id="48" idx="2"/>
          </p:cNvCxnSpPr>
          <p:nvPr/>
        </p:nvCxnSpPr>
        <p:spPr>
          <a:xfrm flipV="1">
            <a:off x="3472449" y="4293175"/>
            <a:ext cx="1068946" cy="128884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Lige pilforbindelse 52">
            <a:extLst>
              <a:ext uri="{FF2B5EF4-FFF2-40B4-BE49-F238E27FC236}">
                <a16:creationId xmlns:a16="http://schemas.microsoft.com/office/drawing/2014/main" id="{0F8BCD97-9E94-4181-AA8A-F4D45C209FBA}"/>
              </a:ext>
            </a:extLst>
          </p:cNvPr>
          <p:cNvCxnSpPr>
            <a:cxnSpLocks/>
            <a:stCxn id="43" idx="2"/>
          </p:cNvCxnSpPr>
          <p:nvPr/>
        </p:nvCxnSpPr>
        <p:spPr>
          <a:xfrm flipH="1">
            <a:off x="4550570" y="1917715"/>
            <a:ext cx="1140451" cy="1898771"/>
          </a:xfrm>
          <a:prstGeom prst="straightConnector1">
            <a:avLst/>
          </a:prstGeom>
          <a:ln w="381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ktangel: afrundede hjørner 56">
            <a:extLst>
              <a:ext uri="{FF2B5EF4-FFF2-40B4-BE49-F238E27FC236}">
                <a16:creationId xmlns:a16="http://schemas.microsoft.com/office/drawing/2014/main" id="{BD059CEC-F844-4D90-818C-BAB4F79B9F7C}"/>
              </a:ext>
            </a:extLst>
          </p:cNvPr>
          <p:cNvSpPr/>
          <p:nvPr/>
        </p:nvSpPr>
        <p:spPr>
          <a:xfrm>
            <a:off x="8551567" y="1015099"/>
            <a:ext cx="2949242" cy="1638300"/>
          </a:xfrm>
          <a:prstGeom prst="roundRect">
            <a:avLst>
              <a:gd name="adj" fmla="val 4650"/>
            </a:avLst>
          </a:pr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kstfelt 57">
            <a:extLst>
              <a:ext uri="{FF2B5EF4-FFF2-40B4-BE49-F238E27FC236}">
                <a16:creationId xmlns:a16="http://schemas.microsoft.com/office/drawing/2014/main" id="{198D025D-24A5-44CC-81A7-E60EA8391C8D}"/>
              </a:ext>
            </a:extLst>
          </p:cNvPr>
          <p:cNvSpPr txBox="1"/>
          <p:nvPr/>
        </p:nvSpPr>
        <p:spPr>
          <a:xfrm>
            <a:off x="8575563" y="2384388"/>
            <a:ext cx="15341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VAL_PD_MUS_K09_1200</a:t>
            </a:r>
          </a:p>
        </p:txBody>
      </p:sp>
      <p:sp>
        <p:nvSpPr>
          <p:cNvPr id="59" name="Tekstfelt 58">
            <a:extLst>
              <a:ext uri="{FF2B5EF4-FFF2-40B4-BE49-F238E27FC236}">
                <a16:creationId xmlns:a16="http://schemas.microsoft.com/office/drawing/2014/main" id="{EF606B04-91C7-4FB4-9FC0-05BA30BFB828}"/>
              </a:ext>
            </a:extLst>
          </p:cNvPr>
          <p:cNvSpPr txBox="1"/>
          <p:nvPr/>
        </p:nvSpPr>
        <p:spPr>
          <a:xfrm>
            <a:off x="10002645" y="2387315"/>
            <a:ext cx="15341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VAL_PD_MUS_K09_3200</a:t>
            </a:r>
          </a:p>
        </p:txBody>
      </p:sp>
      <p:sp>
        <p:nvSpPr>
          <p:cNvPr id="60" name="Tekstfelt 59">
            <a:extLst>
              <a:ext uri="{FF2B5EF4-FFF2-40B4-BE49-F238E27FC236}">
                <a16:creationId xmlns:a16="http://schemas.microsoft.com/office/drawing/2014/main" id="{F4510575-84DB-431B-8B8F-58B84B36CB3F}"/>
              </a:ext>
            </a:extLst>
          </p:cNvPr>
          <p:cNvSpPr txBox="1"/>
          <p:nvPr/>
        </p:nvSpPr>
        <p:spPr>
          <a:xfrm>
            <a:off x="8542392" y="728732"/>
            <a:ext cx="14837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0B0F0"/>
                </a:solidFill>
              </a:rPr>
              <a:t>MSU</a:t>
            </a:r>
          </a:p>
        </p:txBody>
      </p:sp>
      <p:sp>
        <p:nvSpPr>
          <p:cNvPr id="63" name="Rektangel: afrundede hjørner 62">
            <a:extLst>
              <a:ext uri="{FF2B5EF4-FFF2-40B4-BE49-F238E27FC236}">
                <a16:creationId xmlns:a16="http://schemas.microsoft.com/office/drawing/2014/main" id="{F691AF9A-8F8C-4426-A96E-C814511C4DAE}"/>
              </a:ext>
            </a:extLst>
          </p:cNvPr>
          <p:cNvSpPr/>
          <p:nvPr/>
        </p:nvSpPr>
        <p:spPr>
          <a:xfrm>
            <a:off x="8601887" y="4163831"/>
            <a:ext cx="2949242" cy="1638300"/>
          </a:xfrm>
          <a:prstGeom prst="roundRect">
            <a:avLst>
              <a:gd name="adj" fmla="val 4650"/>
            </a:avLst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kstfelt 63">
            <a:extLst>
              <a:ext uri="{FF2B5EF4-FFF2-40B4-BE49-F238E27FC236}">
                <a16:creationId xmlns:a16="http://schemas.microsoft.com/office/drawing/2014/main" id="{D7202E81-55E3-4076-98A7-D3CF28243D98}"/>
              </a:ext>
            </a:extLst>
          </p:cNvPr>
          <p:cNvSpPr txBox="1"/>
          <p:nvPr/>
        </p:nvSpPr>
        <p:spPr>
          <a:xfrm>
            <a:off x="8575563" y="5533120"/>
            <a:ext cx="15595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VAL_PD_ENG_K09_1200</a:t>
            </a:r>
          </a:p>
        </p:txBody>
      </p:sp>
      <p:sp>
        <p:nvSpPr>
          <p:cNvPr id="65" name="Tekstfelt 64">
            <a:extLst>
              <a:ext uri="{FF2B5EF4-FFF2-40B4-BE49-F238E27FC236}">
                <a16:creationId xmlns:a16="http://schemas.microsoft.com/office/drawing/2014/main" id="{4E0EA81F-AF75-46E4-A95B-E38FCA23556B}"/>
              </a:ext>
            </a:extLst>
          </p:cNvPr>
          <p:cNvSpPr txBox="1"/>
          <p:nvPr/>
        </p:nvSpPr>
        <p:spPr>
          <a:xfrm>
            <a:off x="10019097" y="5527580"/>
            <a:ext cx="15176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VAL_PD_ENG_K09_3200</a:t>
            </a:r>
          </a:p>
        </p:txBody>
      </p:sp>
      <p:sp>
        <p:nvSpPr>
          <p:cNvPr id="66" name="Tekstfelt 65">
            <a:extLst>
              <a:ext uri="{FF2B5EF4-FFF2-40B4-BE49-F238E27FC236}">
                <a16:creationId xmlns:a16="http://schemas.microsoft.com/office/drawing/2014/main" id="{9369C0E1-6438-45AA-8851-8F0267F90DB8}"/>
              </a:ext>
            </a:extLst>
          </p:cNvPr>
          <p:cNvSpPr txBox="1"/>
          <p:nvPr/>
        </p:nvSpPr>
        <p:spPr>
          <a:xfrm>
            <a:off x="8592712" y="3877464"/>
            <a:ext cx="14837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070C0"/>
                </a:solidFill>
              </a:rPr>
              <a:t>ENG</a:t>
            </a:r>
          </a:p>
        </p:txBody>
      </p:sp>
      <p:pic>
        <p:nvPicPr>
          <p:cNvPr id="69" name="Billede 68">
            <a:extLst>
              <a:ext uri="{FF2B5EF4-FFF2-40B4-BE49-F238E27FC236}">
                <a16:creationId xmlns:a16="http://schemas.microsoft.com/office/drawing/2014/main" id="{4A48AC63-5C33-4E74-9E13-659CBBB10CA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51284" y="1216313"/>
            <a:ext cx="1276450" cy="1112086"/>
          </a:xfrm>
          <a:prstGeom prst="rect">
            <a:avLst/>
          </a:prstGeom>
        </p:spPr>
      </p:pic>
      <p:pic>
        <p:nvPicPr>
          <p:cNvPr id="71" name="Billede 70">
            <a:extLst>
              <a:ext uri="{FF2B5EF4-FFF2-40B4-BE49-F238E27FC236}">
                <a16:creationId xmlns:a16="http://schemas.microsoft.com/office/drawing/2014/main" id="{8C07D67D-4306-4606-9224-2AECC98FE14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83905" y="1114723"/>
            <a:ext cx="1060733" cy="1240411"/>
          </a:xfrm>
          <a:prstGeom prst="rect">
            <a:avLst/>
          </a:prstGeom>
        </p:spPr>
      </p:pic>
      <p:pic>
        <p:nvPicPr>
          <p:cNvPr id="75" name="Billede 74">
            <a:extLst>
              <a:ext uri="{FF2B5EF4-FFF2-40B4-BE49-F238E27FC236}">
                <a16:creationId xmlns:a16="http://schemas.microsoft.com/office/drawing/2014/main" id="{EF573576-513D-4C2B-AAD5-0ED6BEE4DFE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0775"/>
          <a:stretch/>
        </p:blipFill>
        <p:spPr>
          <a:xfrm rot="16394306">
            <a:off x="8659113" y="4428111"/>
            <a:ext cx="1256090" cy="987180"/>
          </a:xfrm>
          <a:prstGeom prst="rect">
            <a:avLst/>
          </a:prstGeom>
        </p:spPr>
      </p:pic>
      <p:pic>
        <p:nvPicPr>
          <p:cNvPr id="77" name="Billede 76">
            <a:extLst>
              <a:ext uri="{FF2B5EF4-FFF2-40B4-BE49-F238E27FC236}">
                <a16:creationId xmlns:a16="http://schemas.microsoft.com/office/drawing/2014/main" id="{7354CF4D-F96E-41F4-B42D-68C5EA43454B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46576" t="7064" r="4704" b="6405"/>
          <a:stretch/>
        </p:blipFill>
        <p:spPr>
          <a:xfrm>
            <a:off x="10176087" y="4239109"/>
            <a:ext cx="1056562" cy="1337518"/>
          </a:xfrm>
          <a:prstGeom prst="rect">
            <a:avLst/>
          </a:prstGeom>
        </p:spPr>
      </p:pic>
      <p:sp>
        <p:nvSpPr>
          <p:cNvPr id="40" name="Rektangel: afrundede hjørner 39">
            <a:extLst>
              <a:ext uri="{FF2B5EF4-FFF2-40B4-BE49-F238E27FC236}">
                <a16:creationId xmlns:a16="http://schemas.microsoft.com/office/drawing/2014/main" id="{C194D1D3-5088-49DF-A7FA-73A131E13C1E}"/>
              </a:ext>
            </a:extLst>
          </p:cNvPr>
          <p:cNvSpPr/>
          <p:nvPr/>
        </p:nvSpPr>
        <p:spPr>
          <a:xfrm>
            <a:off x="7310850" y="5576627"/>
            <a:ext cx="434683" cy="413540"/>
          </a:xfrm>
          <a:prstGeom prst="roundRect">
            <a:avLst>
              <a:gd name="adj" fmla="val 4650"/>
            </a:avLst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2" name="Lige pilforbindelse 41">
            <a:extLst>
              <a:ext uri="{FF2B5EF4-FFF2-40B4-BE49-F238E27FC236}">
                <a16:creationId xmlns:a16="http://schemas.microsoft.com/office/drawing/2014/main" id="{247740C1-661F-4D43-B358-18719671D42C}"/>
              </a:ext>
            </a:extLst>
          </p:cNvPr>
          <p:cNvCxnSpPr>
            <a:cxnSpLocks/>
            <a:stCxn id="63" idx="1"/>
          </p:cNvCxnSpPr>
          <p:nvPr/>
        </p:nvCxnSpPr>
        <p:spPr>
          <a:xfrm flipH="1">
            <a:off x="7786540" y="4982981"/>
            <a:ext cx="815347" cy="667709"/>
          </a:xfrm>
          <a:prstGeom prst="straightConnector1">
            <a:avLst/>
          </a:prstGeom>
          <a:ln w="381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ktangel: afrundede hjørner 44">
            <a:extLst>
              <a:ext uri="{FF2B5EF4-FFF2-40B4-BE49-F238E27FC236}">
                <a16:creationId xmlns:a16="http://schemas.microsoft.com/office/drawing/2014/main" id="{7D92131A-5D0C-4703-958A-B48C97A43839}"/>
              </a:ext>
            </a:extLst>
          </p:cNvPr>
          <p:cNvSpPr/>
          <p:nvPr/>
        </p:nvSpPr>
        <p:spPr>
          <a:xfrm>
            <a:off x="6670459" y="5417472"/>
            <a:ext cx="426586" cy="318309"/>
          </a:xfrm>
          <a:prstGeom prst="roundRect">
            <a:avLst>
              <a:gd name="adj" fmla="val 4650"/>
            </a:avLst>
          </a:pr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Lige pilforbindelse 46">
            <a:extLst>
              <a:ext uri="{FF2B5EF4-FFF2-40B4-BE49-F238E27FC236}">
                <a16:creationId xmlns:a16="http://schemas.microsoft.com/office/drawing/2014/main" id="{08B5BA32-882B-4424-AC4F-E252B3A2223E}"/>
              </a:ext>
            </a:extLst>
          </p:cNvPr>
          <p:cNvCxnSpPr>
            <a:cxnSpLocks/>
            <a:stCxn id="57" idx="1"/>
          </p:cNvCxnSpPr>
          <p:nvPr/>
        </p:nvCxnSpPr>
        <p:spPr>
          <a:xfrm flipH="1">
            <a:off x="6951941" y="1834249"/>
            <a:ext cx="1599626" cy="3586534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ue 14">
            <a:extLst>
              <a:ext uri="{FF2B5EF4-FFF2-40B4-BE49-F238E27FC236}">
                <a16:creationId xmlns:a16="http://schemas.microsoft.com/office/drawing/2014/main" id="{F3F3550B-3819-4919-B48B-C33608242135}"/>
              </a:ext>
            </a:extLst>
          </p:cNvPr>
          <p:cNvSpPr/>
          <p:nvPr/>
        </p:nvSpPr>
        <p:spPr>
          <a:xfrm rot="6567604">
            <a:off x="6867055" y="4736052"/>
            <a:ext cx="536683" cy="1362139"/>
          </a:xfrm>
          <a:prstGeom prst="arc">
            <a:avLst>
              <a:gd name="adj1" fmla="val 17603133"/>
              <a:gd name="adj2" fmla="val 1973562"/>
            </a:avLst>
          </a:prstGeom>
          <a:ln w="127000">
            <a:solidFill>
              <a:srgbClr val="007434">
                <a:alpha val="49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Lige forbindelse 20">
            <a:extLst>
              <a:ext uri="{FF2B5EF4-FFF2-40B4-BE49-F238E27FC236}">
                <a16:creationId xmlns:a16="http://schemas.microsoft.com/office/drawing/2014/main" id="{486449CB-FA6D-4021-9FF4-7F11F4C7F037}"/>
              </a:ext>
            </a:extLst>
          </p:cNvPr>
          <p:cNvCxnSpPr>
            <a:cxnSpLocks/>
          </p:cNvCxnSpPr>
          <p:nvPr/>
        </p:nvCxnSpPr>
        <p:spPr>
          <a:xfrm>
            <a:off x="4474992" y="4192081"/>
            <a:ext cx="2377232" cy="1384545"/>
          </a:xfrm>
          <a:prstGeom prst="line">
            <a:avLst/>
          </a:prstGeom>
          <a:ln w="127000">
            <a:solidFill>
              <a:srgbClr val="08C411">
                <a:alpha val="48627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Lige forbindelse 55">
            <a:extLst>
              <a:ext uri="{FF2B5EF4-FFF2-40B4-BE49-F238E27FC236}">
                <a16:creationId xmlns:a16="http://schemas.microsoft.com/office/drawing/2014/main" id="{29B2E175-2A6B-405D-A97D-F9F885C6F56A}"/>
              </a:ext>
            </a:extLst>
          </p:cNvPr>
          <p:cNvCxnSpPr>
            <a:cxnSpLocks/>
          </p:cNvCxnSpPr>
          <p:nvPr/>
        </p:nvCxnSpPr>
        <p:spPr>
          <a:xfrm>
            <a:off x="4214420" y="2507498"/>
            <a:ext cx="261124" cy="1677743"/>
          </a:xfrm>
          <a:prstGeom prst="line">
            <a:avLst/>
          </a:prstGeom>
          <a:ln w="127000">
            <a:solidFill>
              <a:srgbClr val="92D050">
                <a:alpha val="48627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kstfelt 60">
            <a:extLst>
              <a:ext uri="{FF2B5EF4-FFF2-40B4-BE49-F238E27FC236}">
                <a16:creationId xmlns:a16="http://schemas.microsoft.com/office/drawing/2014/main" id="{6A81AF1C-4B18-4364-90BF-A61E54BCFCC1}"/>
              </a:ext>
            </a:extLst>
          </p:cNvPr>
          <p:cNvSpPr txBox="1"/>
          <p:nvPr/>
        </p:nvSpPr>
        <p:spPr>
          <a:xfrm>
            <a:off x="6568952" y="5857062"/>
            <a:ext cx="7418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07434"/>
                </a:solidFill>
              </a:rPr>
              <a:t>TUV1</a:t>
            </a:r>
          </a:p>
        </p:txBody>
      </p:sp>
      <p:sp>
        <p:nvSpPr>
          <p:cNvPr id="62" name="Tekstfelt 61">
            <a:extLst>
              <a:ext uri="{FF2B5EF4-FFF2-40B4-BE49-F238E27FC236}">
                <a16:creationId xmlns:a16="http://schemas.microsoft.com/office/drawing/2014/main" id="{7EC505D1-EF6E-4B66-BFCB-EBA6E18FFC78}"/>
              </a:ext>
            </a:extLst>
          </p:cNvPr>
          <p:cNvSpPr txBox="1"/>
          <p:nvPr/>
        </p:nvSpPr>
        <p:spPr>
          <a:xfrm>
            <a:off x="4399510" y="2856886"/>
            <a:ext cx="7164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92D050"/>
                </a:solidFill>
              </a:rPr>
              <a:t>TUV2</a:t>
            </a:r>
          </a:p>
        </p:txBody>
      </p:sp>
      <p:sp>
        <p:nvSpPr>
          <p:cNvPr id="67" name="Tekstfelt 66">
            <a:extLst>
              <a:ext uri="{FF2B5EF4-FFF2-40B4-BE49-F238E27FC236}">
                <a16:creationId xmlns:a16="http://schemas.microsoft.com/office/drawing/2014/main" id="{2805EC6C-86B1-41EA-BB36-307F27466636}"/>
              </a:ext>
            </a:extLst>
          </p:cNvPr>
          <p:cNvSpPr txBox="1"/>
          <p:nvPr/>
        </p:nvSpPr>
        <p:spPr>
          <a:xfrm>
            <a:off x="4904670" y="4937211"/>
            <a:ext cx="7419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8C411"/>
                </a:solidFill>
              </a:rPr>
              <a:t>TUV3</a:t>
            </a:r>
          </a:p>
        </p:txBody>
      </p:sp>
      <p:pic>
        <p:nvPicPr>
          <p:cNvPr id="51" name="Billede 2">
            <a:extLst>
              <a:ext uri="{FF2B5EF4-FFF2-40B4-BE49-F238E27FC236}">
                <a16:creationId xmlns:a16="http://schemas.microsoft.com/office/drawing/2014/main" id="{D9AC5627-C5AE-4D52-9C42-719FBD3E8DD8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29214" r="18293" b="24163"/>
          <a:stretch/>
        </p:blipFill>
        <p:spPr>
          <a:xfrm>
            <a:off x="4368886" y="431689"/>
            <a:ext cx="2583055" cy="1234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4123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DB71B06-8584-4C0A-94F6-2F8FFC3E2005}"/>
              </a:ext>
            </a:extLst>
          </p:cNvPr>
          <p:cNvSpPr/>
          <p:nvPr/>
        </p:nvSpPr>
        <p:spPr>
          <a:xfrm>
            <a:off x="550863" y="1636297"/>
            <a:ext cx="10355262" cy="46073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/>
              <a:t>Lokation</a:t>
            </a:r>
            <a:endParaRPr lang="en-US" sz="2000" noProof="0" dirty="0" err="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34E5FB-812C-4BD2-B82D-F936A3229E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3991" y="1820752"/>
            <a:ext cx="6642133" cy="4117986"/>
          </a:xfrm>
          <a:prstGeom prst="rect">
            <a:avLst/>
          </a:prstGeom>
        </p:spPr>
      </p:pic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560B4476-B8CC-4804-A582-106423E47890}"/>
              </a:ext>
            </a:extLst>
          </p:cNvPr>
          <p:cNvSpPr/>
          <p:nvPr/>
        </p:nvSpPr>
        <p:spPr>
          <a:xfrm>
            <a:off x="787417" y="3871036"/>
            <a:ext cx="5728885" cy="1778885"/>
          </a:xfrm>
          <a:prstGeom prst="roundRect">
            <a:avLst>
              <a:gd name="adj" fmla="val 3816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370D91-5AB5-4154-B7A0-E3168102C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sz="4400" dirty="0"/>
              <a:t>Web-App - Koordiner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7176E6-220B-4E7F-BEA3-7FCD0091B9C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0429C48-5AE3-4E72-8116-8834856D9713}"/>
              </a:ext>
            </a:extLst>
          </p:cNvPr>
          <p:cNvSpPr txBox="1"/>
          <p:nvPr/>
        </p:nvSpPr>
        <p:spPr>
          <a:xfrm>
            <a:off x="848608" y="2645600"/>
            <a:ext cx="1359235" cy="307777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da-DK" sz="1400" dirty="0"/>
              <a:t>Lokation A1</a:t>
            </a:r>
            <a:endParaRPr lang="en-US" sz="14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B5E4B03-F0F6-4967-B635-A56C44F87C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089" y="2070437"/>
            <a:ext cx="2249902" cy="575163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79FC7A0-14B8-4591-97CA-B7803424B637}"/>
              </a:ext>
            </a:extLst>
          </p:cNvPr>
          <p:cNvSpPr/>
          <p:nvPr/>
        </p:nvSpPr>
        <p:spPr>
          <a:xfrm>
            <a:off x="5513660" y="2764367"/>
            <a:ext cx="2521207" cy="821266"/>
          </a:xfrm>
          <a:custGeom>
            <a:avLst/>
            <a:gdLst>
              <a:gd name="connsiteX0" fmla="*/ 142073 w 2521207"/>
              <a:gd name="connsiteY0" fmla="*/ 207433 h 821266"/>
              <a:gd name="connsiteX1" fmla="*/ 142073 w 2521207"/>
              <a:gd name="connsiteY1" fmla="*/ 207433 h 821266"/>
              <a:gd name="connsiteX2" fmla="*/ 374907 w 2521207"/>
              <a:gd name="connsiteY2" fmla="*/ 182033 h 821266"/>
              <a:gd name="connsiteX3" fmla="*/ 463807 w 2521207"/>
              <a:gd name="connsiteY3" fmla="*/ 186266 h 821266"/>
              <a:gd name="connsiteX4" fmla="*/ 476507 w 2521207"/>
              <a:gd name="connsiteY4" fmla="*/ 190500 h 821266"/>
              <a:gd name="connsiteX5" fmla="*/ 578107 w 2521207"/>
              <a:gd name="connsiteY5" fmla="*/ 207433 h 821266"/>
              <a:gd name="connsiteX6" fmla="*/ 582340 w 2521207"/>
              <a:gd name="connsiteY6" fmla="*/ 228600 h 821266"/>
              <a:gd name="connsiteX7" fmla="*/ 595040 w 2521207"/>
              <a:gd name="connsiteY7" fmla="*/ 304800 h 821266"/>
              <a:gd name="connsiteX8" fmla="*/ 599273 w 2521207"/>
              <a:gd name="connsiteY8" fmla="*/ 368300 h 821266"/>
              <a:gd name="connsiteX9" fmla="*/ 620440 w 2521207"/>
              <a:gd name="connsiteY9" fmla="*/ 376766 h 821266"/>
              <a:gd name="connsiteX10" fmla="*/ 722040 w 2521207"/>
              <a:gd name="connsiteY10" fmla="*/ 372533 h 821266"/>
              <a:gd name="connsiteX11" fmla="*/ 717807 w 2521207"/>
              <a:gd name="connsiteY11" fmla="*/ 330200 h 821266"/>
              <a:gd name="connsiteX12" fmla="*/ 709340 w 2521207"/>
              <a:gd name="connsiteY12" fmla="*/ 287866 h 821266"/>
              <a:gd name="connsiteX13" fmla="*/ 705107 w 2521207"/>
              <a:gd name="connsiteY13" fmla="*/ 42333 h 821266"/>
              <a:gd name="connsiteX14" fmla="*/ 1395140 w 2521207"/>
              <a:gd name="connsiteY14" fmla="*/ 33866 h 821266"/>
              <a:gd name="connsiteX15" fmla="*/ 1496740 w 2521207"/>
              <a:gd name="connsiteY15" fmla="*/ 21166 h 821266"/>
              <a:gd name="connsiteX16" fmla="*/ 1577173 w 2521207"/>
              <a:gd name="connsiteY16" fmla="*/ 12700 h 821266"/>
              <a:gd name="connsiteX17" fmla="*/ 1670307 w 2521207"/>
              <a:gd name="connsiteY17" fmla="*/ 0 h 821266"/>
              <a:gd name="connsiteX18" fmla="*/ 1822707 w 2521207"/>
              <a:gd name="connsiteY18" fmla="*/ 4233 h 821266"/>
              <a:gd name="connsiteX19" fmla="*/ 1881973 w 2521207"/>
              <a:gd name="connsiteY19" fmla="*/ 12700 h 821266"/>
              <a:gd name="connsiteX20" fmla="*/ 2068240 w 2521207"/>
              <a:gd name="connsiteY20" fmla="*/ 21166 h 821266"/>
              <a:gd name="connsiteX21" fmla="*/ 2089407 w 2521207"/>
              <a:gd name="connsiteY21" fmla="*/ 25400 h 821266"/>
              <a:gd name="connsiteX22" fmla="*/ 2093640 w 2521207"/>
              <a:gd name="connsiteY22" fmla="*/ 38100 h 821266"/>
              <a:gd name="connsiteX23" fmla="*/ 2102107 w 2521207"/>
              <a:gd name="connsiteY23" fmla="*/ 50800 h 821266"/>
              <a:gd name="connsiteX24" fmla="*/ 2114807 w 2521207"/>
              <a:gd name="connsiteY24" fmla="*/ 71966 h 821266"/>
              <a:gd name="connsiteX25" fmla="*/ 2119040 w 2521207"/>
              <a:gd name="connsiteY25" fmla="*/ 88900 h 821266"/>
              <a:gd name="connsiteX26" fmla="*/ 2123273 w 2521207"/>
              <a:gd name="connsiteY26" fmla="*/ 122766 h 821266"/>
              <a:gd name="connsiteX27" fmla="*/ 2161373 w 2521207"/>
              <a:gd name="connsiteY27" fmla="*/ 131233 h 821266"/>
              <a:gd name="connsiteX28" fmla="*/ 2262973 w 2521207"/>
              <a:gd name="connsiteY28" fmla="*/ 127000 h 821266"/>
              <a:gd name="connsiteX29" fmla="*/ 2334940 w 2521207"/>
              <a:gd name="connsiteY29" fmla="*/ 114300 h 821266"/>
              <a:gd name="connsiteX30" fmla="*/ 2351873 w 2521207"/>
              <a:gd name="connsiteY30" fmla="*/ 122766 h 821266"/>
              <a:gd name="connsiteX31" fmla="*/ 2356107 w 2521207"/>
              <a:gd name="connsiteY31" fmla="*/ 135466 h 821266"/>
              <a:gd name="connsiteX32" fmla="*/ 2360340 w 2521207"/>
              <a:gd name="connsiteY32" fmla="*/ 241300 h 821266"/>
              <a:gd name="connsiteX33" fmla="*/ 2373040 w 2521207"/>
              <a:gd name="connsiteY33" fmla="*/ 249766 h 821266"/>
              <a:gd name="connsiteX34" fmla="*/ 2508507 w 2521207"/>
              <a:gd name="connsiteY34" fmla="*/ 262466 h 821266"/>
              <a:gd name="connsiteX35" fmla="*/ 2521207 w 2521207"/>
              <a:gd name="connsiteY35" fmla="*/ 304800 h 821266"/>
              <a:gd name="connsiteX36" fmla="*/ 2516973 w 2521207"/>
              <a:gd name="connsiteY36" fmla="*/ 317500 h 821266"/>
              <a:gd name="connsiteX37" fmla="*/ 2483107 w 2521207"/>
              <a:gd name="connsiteY37" fmla="*/ 313266 h 821266"/>
              <a:gd name="connsiteX38" fmla="*/ 2394207 w 2521207"/>
              <a:gd name="connsiteY38" fmla="*/ 304800 h 821266"/>
              <a:gd name="connsiteX39" fmla="*/ 2131740 w 2521207"/>
              <a:gd name="connsiteY39" fmla="*/ 309033 h 821266"/>
              <a:gd name="connsiteX40" fmla="*/ 2085173 w 2521207"/>
              <a:gd name="connsiteY40" fmla="*/ 313266 h 821266"/>
              <a:gd name="connsiteX41" fmla="*/ 2047073 w 2521207"/>
              <a:gd name="connsiteY41" fmla="*/ 325966 h 821266"/>
              <a:gd name="connsiteX42" fmla="*/ 2030140 w 2521207"/>
              <a:gd name="connsiteY42" fmla="*/ 330200 h 821266"/>
              <a:gd name="connsiteX43" fmla="*/ 1915840 w 2521207"/>
              <a:gd name="connsiteY43" fmla="*/ 338666 h 821266"/>
              <a:gd name="connsiteX44" fmla="*/ 1898907 w 2521207"/>
              <a:gd name="connsiteY44" fmla="*/ 351366 h 821266"/>
              <a:gd name="connsiteX45" fmla="*/ 1890440 w 2521207"/>
              <a:gd name="connsiteY45" fmla="*/ 385233 h 821266"/>
              <a:gd name="connsiteX46" fmla="*/ 1877740 w 2521207"/>
              <a:gd name="connsiteY46" fmla="*/ 402166 h 821266"/>
              <a:gd name="connsiteX47" fmla="*/ 1869273 w 2521207"/>
              <a:gd name="connsiteY47" fmla="*/ 419100 h 821266"/>
              <a:gd name="connsiteX48" fmla="*/ 1865040 w 2521207"/>
              <a:gd name="connsiteY48" fmla="*/ 431800 h 821266"/>
              <a:gd name="connsiteX49" fmla="*/ 1839640 w 2521207"/>
              <a:gd name="connsiteY49" fmla="*/ 448733 h 821266"/>
              <a:gd name="connsiteX50" fmla="*/ 1822707 w 2521207"/>
              <a:gd name="connsiteY50" fmla="*/ 486833 h 821266"/>
              <a:gd name="connsiteX51" fmla="*/ 1818473 w 2521207"/>
              <a:gd name="connsiteY51" fmla="*/ 503766 h 821266"/>
              <a:gd name="connsiteX52" fmla="*/ 1810007 w 2521207"/>
              <a:gd name="connsiteY52" fmla="*/ 520700 h 821266"/>
              <a:gd name="connsiteX53" fmla="*/ 1805773 w 2521207"/>
              <a:gd name="connsiteY53" fmla="*/ 537633 h 821266"/>
              <a:gd name="connsiteX54" fmla="*/ 1780373 w 2521207"/>
              <a:gd name="connsiteY54" fmla="*/ 563033 h 821266"/>
              <a:gd name="connsiteX55" fmla="*/ 1771907 w 2521207"/>
              <a:gd name="connsiteY55" fmla="*/ 575733 h 821266"/>
              <a:gd name="connsiteX56" fmla="*/ 1733807 w 2521207"/>
              <a:gd name="connsiteY56" fmla="*/ 596900 h 821266"/>
              <a:gd name="connsiteX57" fmla="*/ 1708407 w 2521207"/>
              <a:gd name="connsiteY57" fmla="*/ 592666 h 821266"/>
              <a:gd name="connsiteX58" fmla="*/ 1674540 w 2521207"/>
              <a:gd name="connsiteY58" fmla="*/ 601133 h 821266"/>
              <a:gd name="connsiteX59" fmla="*/ 1670307 w 2521207"/>
              <a:gd name="connsiteY59" fmla="*/ 622300 h 821266"/>
              <a:gd name="connsiteX60" fmla="*/ 1636440 w 2521207"/>
              <a:gd name="connsiteY60" fmla="*/ 647700 h 821266"/>
              <a:gd name="connsiteX61" fmla="*/ 1611040 w 2521207"/>
              <a:gd name="connsiteY61" fmla="*/ 673100 h 821266"/>
              <a:gd name="connsiteX62" fmla="*/ 1598340 w 2521207"/>
              <a:gd name="connsiteY62" fmla="*/ 719666 h 821266"/>
              <a:gd name="connsiteX63" fmla="*/ 1589873 w 2521207"/>
              <a:gd name="connsiteY63" fmla="*/ 740833 h 821266"/>
              <a:gd name="connsiteX64" fmla="*/ 1572940 w 2521207"/>
              <a:gd name="connsiteY64" fmla="*/ 753533 h 821266"/>
              <a:gd name="connsiteX65" fmla="*/ 1564473 w 2521207"/>
              <a:gd name="connsiteY65" fmla="*/ 770466 h 821266"/>
              <a:gd name="connsiteX66" fmla="*/ 1560240 w 2521207"/>
              <a:gd name="connsiteY66" fmla="*/ 783166 h 821266"/>
              <a:gd name="connsiteX67" fmla="*/ 1534840 w 2521207"/>
              <a:gd name="connsiteY67" fmla="*/ 800100 h 821266"/>
              <a:gd name="connsiteX68" fmla="*/ 1517907 w 2521207"/>
              <a:gd name="connsiteY68" fmla="*/ 817033 h 821266"/>
              <a:gd name="connsiteX69" fmla="*/ 1306240 w 2521207"/>
              <a:gd name="connsiteY69" fmla="*/ 821266 h 821266"/>
              <a:gd name="connsiteX70" fmla="*/ 1280840 w 2521207"/>
              <a:gd name="connsiteY70" fmla="*/ 817033 h 821266"/>
              <a:gd name="connsiteX71" fmla="*/ 1268140 w 2521207"/>
              <a:gd name="connsiteY71" fmla="*/ 783166 h 821266"/>
              <a:gd name="connsiteX72" fmla="*/ 1268140 w 2521207"/>
              <a:gd name="connsiteY72" fmla="*/ 643466 h 821266"/>
              <a:gd name="connsiteX73" fmla="*/ 1251207 w 2521207"/>
              <a:gd name="connsiteY73" fmla="*/ 639233 h 821266"/>
              <a:gd name="connsiteX74" fmla="*/ 1238507 w 2521207"/>
              <a:gd name="connsiteY74" fmla="*/ 613833 h 821266"/>
              <a:gd name="connsiteX75" fmla="*/ 1234273 w 2521207"/>
              <a:gd name="connsiteY75" fmla="*/ 550333 h 821266"/>
              <a:gd name="connsiteX76" fmla="*/ 1136907 w 2521207"/>
              <a:gd name="connsiteY76" fmla="*/ 546100 h 821266"/>
              <a:gd name="connsiteX77" fmla="*/ 1069173 w 2521207"/>
              <a:gd name="connsiteY77" fmla="*/ 550333 h 821266"/>
              <a:gd name="connsiteX78" fmla="*/ 1056473 w 2521207"/>
              <a:gd name="connsiteY78" fmla="*/ 588433 h 821266"/>
              <a:gd name="connsiteX79" fmla="*/ 954873 w 2521207"/>
              <a:gd name="connsiteY79" fmla="*/ 584200 h 821266"/>
              <a:gd name="connsiteX80" fmla="*/ 937940 w 2521207"/>
              <a:gd name="connsiteY80" fmla="*/ 575733 h 821266"/>
              <a:gd name="connsiteX81" fmla="*/ 933707 w 2521207"/>
              <a:gd name="connsiteY81" fmla="*/ 563033 h 821266"/>
              <a:gd name="connsiteX82" fmla="*/ 929473 w 2521207"/>
              <a:gd name="connsiteY82" fmla="*/ 537633 h 821266"/>
              <a:gd name="connsiteX83" fmla="*/ 832107 w 2521207"/>
              <a:gd name="connsiteY83" fmla="*/ 541866 h 821266"/>
              <a:gd name="connsiteX84" fmla="*/ 836340 w 2521207"/>
              <a:gd name="connsiteY84" fmla="*/ 575733 h 821266"/>
              <a:gd name="connsiteX85" fmla="*/ 819407 w 2521207"/>
              <a:gd name="connsiteY85" fmla="*/ 584200 h 821266"/>
              <a:gd name="connsiteX86" fmla="*/ 679707 w 2521207"/>
              <a:gd name="connsiteY86" fmla="*/ 579966 h 821266"/>
              <a:gd name="connsiteX87" fmla="*/ 675473 w 2521207"/>
              <a:gd name="connsiteY87" fmla="*/ 563033 h 821266"/>
              <a:gd name="connsiteX88" fmla="*/ 671240 w 2521207"/>
              <a:gd name="connsiteY88" fmla="*/ 550333 h 821266"/>
              <a:gd name="connsiteX89" fmla="*/ 667007 w 2521207"/>
              <a:gd name="connsiteY89" fmla="*/ 533400 h 821266"/>
              <a:gd name="connsiteX90" fmla="*/ 654307 w 2521207"/>
              <a:gd name="connsiteY90" fmla="*/ 524933 h 821266"/>
              <a:gd name="connsiteX91" fmla="*/ 573873 w 2521207"/>
              <a:gd name="connsiteY91" fmla="*/ 529166 h 821266"/>
              <a:gd name="connsiteX92" fmla="*/ 548473 w 2521207"/>
              <a:gd name="connsiteY92" fmla="*/ 533400 h 821266"/>
              <a:gd name="connsiteX93" fmla="*/ 544240 w 2521207"/>
              <a:gd name="connsiteY93" fmla="*/ 554566 h 821266"/>
              <a:gd name="connsiteX94" fmla="*/ 540007 w 2521207"/>
              <a:gd name="connsiteY94" fmla="*/ 579966 h 821266"/>
              <a:gd name="connsiteX95" fmla="*/ 429940 w 2521207"/>
              <a:gd name="connsiteY95" fmla="*/ 575733 h 821266"/>
              <a:gd name="connsiteX96" fmla="*/ 374907 w 2521207"/>
              <a:gd name="connsiteY96" fmla="*/ 563033 h 821266"/>
              <a:gd name="connsiteX97" fmla="*/ 400307 w 2521207"/>
              <a:gd name="connsiteY97" fmla="*/ 546100 h 821266"/>
              <a:gd name="connsiteX98" fmla="*/ 387607 w 2521207"/>
              <a:gd name="connsiteY98" fmla="*/ 537633 h 821266"/>
              <a:gd name="connsiteX99" fmla="*/ 269073 w 2521207"/>
              <a:gd name="connsiteY99" fmla="*/ 533400 h 821266"/>
              <a:gd name="connsiteX100" fmla="*/ 264840 w 2521207"/>
              <a:gd name="connsiteY100" fmla="*/ 550333 h 821266"/>
              <a:gd name="connsiteX101" fmla="*/ 192873 w 2521207"/>
              <a:gd name="connsiteY101" fmla="*/ 579966 h 821266"/>
              <a:gd name="connsiteX102" fmla="*/ 167473 w 2521207"/>
              <a:gd name="connsiteY102" fmla="*/ 575733 h 821266"/>
              <a:gd name="connsiteX103" fmla="*/ 154773 w 2521207"/>
              <a:gd name="connsiteY103" fmla="*/ 571500 h 821266"/>
              <a:gd name="connsiteX104" fmla="*/ 133607 w 2521207"/>
              <a:gd name="connsiteY104" fmla="*/ 567266 h 821266"/>
              <a:gd name="connsiteX105" fmla="*/ 65873 w 2521207"/>
              <a:gd name="connsiteY105" fmla="*/ 529166 h 821266"/>
              <a:gd name="connsiteX106" fmla="*/ 6607 w 2521207"/>
              <a:gd name="connsiteY106" fmla="*/ 516466 h 821266"/>
              <a:gd name="connsiteX107" fmla="*/ 2373 w 2521207"/>
              <a:gd name="connsiteY107" fmla="*/ 503766 h 821266"/>
              <a:gd name="connsiteX108" fmla="*/ 6607 w 2521207"/>
              <a:gd name="connsiteY108" fmla="*/ 465666 h 821266"/>
              <a:gd name="connsiteX109" fmla="*/ 142073 w 2521207"/>
              <a:gd name="connsiteY109" fmla="*/ 444500 h 821266"/>
              <a:gd name="connsiteX110" fmla="*/ 137840 w 2521207"/>
              <a:gd name="connsiteY110" fmla="*/ 372533 h 821266"/>
              <a:gd name="connsiteX111" fmla="*/ 129373 w 2521207"/>
              <a:gd name="connsiteY111" fmla="*/ 338666 h 821266"/>
              <a:gd name="connsiteX112" fmla="*/ 142073 w 2521207"/>
              <a:gd name="connsiteY112" fmla="*/ 207433 h 821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2521207" h="821266">
                <a:moveTo>
                  <a:pt x="142073" y="207433"/>
                </a:moveTo>
                <a:lnTo>
                  <a:pt x="142073" y="207433"/>
                </a:lnTo>
                <a:cubicBezTo>
                  <a:pt x="146330" y="206932"/>
                  <a:pt x="342200" y="182812"/>
                  <a:pt x="374907" y="182033"/>
                </a:cubicBezTo>
                <a:cubicBezTo>
                  <a:pt x="404565" y="181327"/>
                  <a:pt x="434174" y="184855"/>
                  <a:pt x="463807" y="186266"/>
                </a:cubicBezTo>
                <a:cubicBezTo>
                  <a:pt x="468040" y="187677"/>
                  <a:pt x="472140" y="189581"/>
                  <a:pt x="476507" y="190500"/>
                </a:cubicBezTo>
                <a:cubicBezTo>
                  <a:pt x="534173" y="202641"/>
                  <a:pt x="531970" y="201666"/>
                  <a:pt x="578107" y="207433"/>
                </a:cubicBezTo>
                <a:cubicBezTo>
                  <a:pt x="579518" y="214489"/>
                  <a:pt x="581157" y="221503"/>
                  <a:pt x="582340" y="228600"/>
                </a:cubicBezTo>
                <a:cubicBezTo>
                  <a:pt x="596681" y="314647"/>
                  <a:pt x="585314" y="256167"/>
                  <a:pt x="595040" y="304800"/>
                </a:cubicBezTo>
                <a:cubicBezTo>
                  <a:pt x="596451" y="325967"/>
                  <a:pt x="592213" y="348296"/>
                  <a:pt x="599273" y="368300"/>
                </a:cubicBezTo>
                <a:cubicBezTo>
                  <a:pt x="601802" y="375466"/>
                  <a:pt x="612845" y="376504"/>
                  <a:pt x="620440" y="376766"/>
                </a:cubicBezTo>
                <a:lnTo>
                  <a:pt x="722040" y="372533"/>
                </a:lnTo>
                <a:cubicBezTo>
                  <a:pt x="720629" y="358422"/>
                  <a:pt x="719911" y="344224"/>
                  <a:pt x="717807" y="330200"/>
                </a:cubicBezTo>
                <a:cubicBezTo>
                  <a:pt x="715672" y="315968"/>
                  <a:pt x="709340" y="287866"/>
                  <a:pt x="709340" y="287866"/>
                </a:cubicBezTo>
                <a:cubicBezTo>
                  <a:pt x="707929" y="206022"/>
                  <a:pt x="628346" y="70763"/>
                  <a:pt x="705107" y="42333"/>
                </a:cubicBezTo>
                <a:cubicBezTo>
                  <a:pt x="920816" y="-37559"/>
                  <a:pt x="1165146" y="37831"/>
                  <a:pt x="1395140" y="33866"/>
                </a:cubicBezTo>
                <a:cubicBezTo>
                  <a:pt x="1427224" y="33313"/>
                  <a:pt x="1465559" y="25620"/>
                  <a:pt x="1496740" y="21166"/>
                </a:cubicBezTo>
                <a:cubicBezTo>
                  <a:pt x="1534478" y="15775"/>
                  <a:pt x="1535161" y="16901"/>
                  <a:pt x="1577173" y="12700"/>
                </a:cubicBezTo>
                <a:cubicBezTo>
                  <a:pt x="1622034" y="8214"/>
                  <a:pt x="1619617" y="7798"/>
                  <a:pt x="1670307" y="0"/>
                </a:cubicBezTo>
                <a:lnTo>
                  <a:pt x="1822707" y="4233"/>
                </a:lnTo>
                <a:cubicBezTo>
                  <a:pt x="1867036" y="6248"/>
                  <a:pt x="1843883" y="9072"/>
                  <a:pt x="1881973" y="12700"/>
                </a:cubicBezTo>
                <a:cubicBezTo>
                  <a:pt x="1937243" y="17964"/>
                  <a:pt x="2019017" y="19469"/>
                  <a:pt x="2068240" y="21166"/>
                </a:cubicBezTo>
                <a:cubicBezTo>
                  <a:pt x="2075296" y="22577"/>
                  <a:pt x="2083420" y="21409"/>
                  <a:pt x="2089407" y="25400"/>
                </a:cubicBezTo>
                <a:cubicBezTo>
                  <a:pt x="2093120" y="27875"/>
                  <a:pt x="2091644" y="34109"/>
                  <a:pt x="2093640" y="38100"/>
                </a:cubicBezTo>
                <a:cubicBezTo>
                  <a:pt x="2095915" y="42651"/>
                  <a:pt x="2099410" y="46486"/>
                  <a:pt x="2102107" y="50800"/>
                </a:cubicBezTo>
                <a:cubicBezTo>
                  <a:pt x="2106468" y="57777"/>
                  <a:pt x="2110574" y="64911"/>
                  <a:pt x="2114807" y="71966"/>
                </a:cubicBezTo>
                <a:cubicBezTo>
                  <a:pt x="2116218" y="77611"/>
                  <a:pt x="2118084" y="83161"/>
                  <a:pt x="2119040" y="88900"/>
                </a:cubicBezTo>
                <a:cubicBezTo>
                  <a:pt x="2120910" y="100122"/>
                  <a:pt x="2115229" y="114722"/>
                  <a:pt x="2123273" y="122766"/>
                </a:cubicBezTo>
                <a:cubicBezTo>
                  <a:pt x="2132472" y="131965"/>
                  <a:pt x="2148673" y="128411"/>
                  <a:pt x="2161373" y="131233"/>
                </a:cubicBezTo>
                <a:cubicBezTo>
                  <a:pt x="2195240" y="129822"/>
                  <a:pt x="2229143" y="129114"/>
                  <a:pt x="2262973" y="127000"/>
                </a:cubicBezTo>
                <a:cubicBezTo>
                  <a:pt x="2287510" y="125466"/>
                  <a:pt x="2311216" y="120231"/>
                  <a:pt x="2334940" y="114300"/>
                </a:cubicBezTo>
                <a:cubicBezTo>
                  <a:pt x="2340584" y="117122"/>
                  <a:pt x="2347411" y="118304"/>
                  <a:pt x="2351873" y="122766"/>
                </a:cubicBezTo>
                <a:cubicBezTo>
                  <a:pt x="2355028" y="125921"/>
                  <a:pt x="2355789" y="131015"/>
                  <a:pt x="2356107" y="135466"/>
                </a:cubicBezTo>
                <a:cubicBezTo>
                  <a:pt x="2358623" y="170682"/>
                  <a:pt x="2355166" y="206375"/>
                  <a:pt x="2360340" y="241300"/>
                </a:cubicBezTo>
                <a:cubicBezTo>
                  <a:pt x="2361086" y="246333"/>
                  <a:pt x="2368003" y="249047"/>
                  <a:pt x="2373040" y="249766"/>
                </a:cubicBezTo>
                <a:cubicBezTo>
                  <a:pt x="2417938" y="256180"/>
                  <a:pt x="2463351" y="258233"/>
                  <a:pt x="2508507" y="262466"/>
                </a:cubicBezTo>
                <a:cubicBezTo>
                  <a:pt x="2513599" y="275198"/>
                  <a:pt x="2521207" y="290494"/>
                  <a:pt x="2521207" y="304800"/>
                </a:cubicBezTo>
                <a:cubicBezTo>
                  <a:pt x="2521207" y="309262"/>
                  <a:pt x="2518384" y="313267"/>
                  <a:pt x="2516973" y="317500"/>
                </a:cubicBezTo>
                <a:cubicBezTo>
                  <a:pt x="2505684" y="316089"/>
                  <a:pt x="2494441" y="314252"/>
                  <a:pt x="2483107" y="313266"/>
                </a:cubicBezTo>
                <a:cubicBezTo>
                  <a:pt x="2392687" y="305403"/>
                  <a:pt x="2447959" y="313758"/>
                  <a:pt x="2394207" y="304800"/>
                </a:cubicBezTo>
                <a:lnTo>
                  <a:pt x="2131740" y="309033"/>
                </a:lnTo>
                <a:cubicBezTo>
                  <a:pt x="2116160" y="309460"/>
                  <a:pt x="2100457" y="310209"/>
                  <a:pt x="2085173" y="313266"/>
                </a:cubicBezTo>
                <a:cubicBezTo>
                  <a:pt x="2072046" y="315891"/>
                  <a:pt x="2060060" y="322719"/>
                  <a:pt x="2047073" y="325966"/>
                </a:cubicBezTo>
                <a:cubicBezTo>
                  <a:pt x="2041429" y="327377"/>
                  <a:pt x="2035931" y="329640"/>
                  <a:pt x="2030140" y="330200"/>
                </a:cubicBezTo>
                <a:cubicBezTo>
                  <a:pt x="1992113" y="333880"/>
                  <a:pt x="1953940" y="335844"/>
                  <a:pt x="1915840" y="338666"/>
                </a:cubicBezTo>
                <a:cubicBezTo>
                  <a:pt x="1910196" y="342899"/>
                  <a:pt x="1903424" y="345946"/>
                  <a:pt x="1898907" y="351366"/>
                </a:cubicBezTo>
                <a:cubicBezTo>
                  <a:pt x="1895256" y="355748"/>
                  <a:pt x="1890939" y="384110"/>
                  <a:pt x="1890440" y="385233"/>
                </a:cubicBezTo>
                <a:cubicBezTo>
                  <a:pt x="1887575" y="391680"/>
                  <a:pt x="1881479" y="396183"/>
                  <a:pt x="1877740" y="402166"/>
                </a:cubicBezTo>
                <a:cubicBezTo>
                  <a:pt x="1874395" y="407518"/>
                  <a:pt x="1871759" y="413299"/>
                  <a:pt x="1869273" y="419100"/>
                </a:cubicBezTo>
                <a:cubicBezTo>
                  <a:pt x="1867515" y="423202"/>
                  <a:pt x="1868195" y="428645"/>
                  <a:pt x="1865040" y="431800"/>
                </a:cubicBezTo>
                <a:cubicBezTo>
                  <a:pt x="1857845" y="438995"/>
                  <a:pt x="1848107" y="443089"/>
                  <a:pt x="1839640" y="448733"/>
                </a:cubicBezTo>
                <a:cubicBezTo>
                  <a:pt x="1829714" y="488439"/>
                  <a:pt x="1843629" y="439759"/>
                  <a:pt x="1822707" y="486833"/>
                </a:cubicBezTo>
                <a:cubicBezTo>
                  <a:pt x="1820344" y="492150"/>
                  <a:pt x="1820516" y="498318"/>
                  <a:pt x="1818473" y="503766"/>
                </a:cubicBezTo>
                <a:cubicBezTo>
                  <a:pt x="1816257" y="509675"/>
                  <a:pt x="1812223" y="514791"/>
                  <a:pt x="1810007" y="520700"/>
                </a:cubicBezTo>
                <a:cubicBezTo>
                  <a:pt x="1807964" y="526148"/>
                  <a:pt x="1809110" y="532867"/>
                  <a:pt x="1805773" y="537633"/>
                </a:cubicBezTo>
                <a:cubicBezTo>
                  <a:pt x="1798906" y="547442"/>
                  <a:pt x="1788328" y="554084"/>
                  <a:pt x="1780373" y="563033"/>
                </a:cubicBezTo>
                <a:cubicBezTo>
                  <a:pt x="1776993" y="566836"/>
                  <a:pt x="1775736" y="572383"/>
                  <a:pt x="1771907" y="575733"/>
                </a:cubicBezTo>
                <a:cubicBezTo>
                  <a:pt x="1753993" y="591408"/>
                  <a:pt x="1751249" y="591085"/>
                  <a:pt x="1733807" y="596900"/>
                </a:cubicBezTo>
                <a:cubicBezTo>
                  <a:pt x="1725340" y="595489"/>
                  <a:pt x="1716084" y="596505"/>
                  <a:pt x="1708407" y="592666"/>
                </a:cubicBezTo>
                <a:cubicBezTo>
                  <a:pt x="1682892" y="579908"/>
                  <a:pt x="1727534" y="556970"/>
                  <a:pt x="1674540" y="601133"/>
                </a:cubicBezTo>
                <a:cubicBezTo>
                  <a:pt x="1673129" y="608189"/>
                  <a:pt x="1674863" y="616731"/>
                  <a:pt x="1670307" y="622300"/>
                </a:cubicBezTo>
                <a:cubicBezTo>
                  <a:pt x="1661371" y="633221"/>
                  <a:pt x="1647154" y="638517"/>
                  <a:pt x="1636440" y="647700"/>
                </a:cubicBezTo>
                <a:cubicBezTo>
                  <a:pt x="1627349" y="655492"/>
                  <a:pt x="1619507" y="664633"/>
                  <a:pt x="1611040" y="673100"/>
                </a:cubicBezTo>
                <a:cubicBezTo>
                  <a:pt x="1606653" y="690646"/>
                  <a:pt x="1604273" y="703845"/>
                  <a:pt x="1598340" y="719666"/>
                </a:cubicBezTo>
                <a:cubicBezTo>
                  <a:pt x="1595672" y="726781"/>
                  <a:pt x="1594432" y="734754"/>
                  <a:pt x="1589873" y="740833"/>
                </a:cubicBezTo>
                <a:cubicBezTo>
                  <a:pt x="1585640" y="746477"/>
                  <a:pt x="1578584" y="749300"/>
                  <a:pt x="1572940" y="753533"/>
                </a:cubicBezTo>
                <a:cubicBezTo>
                  <a:pt x="1570118" y="759177"/>
                  <a:pt x="1566959" y="764666"/>
                  <a:pt x="1564473" y="770466"/>
                </a:cubicBezTo>
                <a:cubicBezTo>
                  <a:pt x="1562715" y="774567"/>
                  <a:pt x="1563395" y="780011"/>
                  <a:pt x="1560240" y="783166"/>
                </a:cubicBezTo>
                <a:cubicBezTo>
                  <a:pt x="1553045" y="790361"/>
                  <a:pt x="1543307" y="794455"/>
                  <a:pt x="1534840" y="800100"/>
                </a:cubicBezTo>
                <a:cubicBezTo>
                  <a:pt x="1530885" y="811965"/>
                  <a:pt x="1533151" y="816458"/>
                  <a:pt x="1517907" y="817033"/>
                </a:cubicBezTo>
                <a:cubicBezTo>
                  <a:pt x="1447387" y="819694"/>
                  <a:pt x="1376796" y="819855"/>
                  <a:pt x="1306240" y="821266"/>
                </a:cubicBezTo>
                <a:cubicBezTo>
                  <a:pt x="1297773" y="819855"/>
                  <a:pt x="1288517" y="820872"/>
                  <a:pt x="1280840" y="817033"/>
                </a:cubicBezTo>
                <a:cubicBezTo>
                  <a:pt x="1271150" y="812188"/>
                  <a:pt x="1269456" y="789747"/>
                  <a:pt x="1268140" y="783166"/>
                </a:cubicBezTo>
                <a:cubicBezTo>
                  <a:pt x="1273678" y="733320"/>
                  <a:pt x="1279372" y="699627"/>
                  <a:pt x="1268140" y="643466"/>
                </a:cubicBezTo>
                <a:cubicBezTo>
                  <a:pt x="1266999" y="637761"/>
                  <a:pt x="1256851" y="640644"/>
                  <a:pt x="1251207" y="639233"/>
                </a:cubicBezTo>
                <a:cubicBezTo>
                  <a:pt x="1245593" y="630812"/>
                  <a:pt x="1239676" y="624350"/>
                  <a:pt x="1238507" y="613833"/>
                </a:cubicBezTo>
                <a:cubicBezTo>
                  <a:pt x="1236164" y="592749"/>
                  <a:pt x="1251924" y="562100"/>
                  <a:pt x="1234273" y="550333"/>
                </a:cubicBezTo>
                <a:cubicBezTo>
                  <a:pt x="1207243" y="532313"/>
                  <a:pt x="1169362" y="547511"/>
                  <a:pt x="1136907" y="546100"/>
                </a:cubicBezTo>
                <a:cubicBezTo>
                  <a:pt x="1114329" y="547511"/>
                  <a:pt x="1089192" y="539797"/>
                  <a:pt x="1069173" y="550333"/>
                </a:cubicBezTo>
                <a:cubicBezTo>
                  <a:pt x="1057327" y="556568"/>
                  <a:pt x="1056473" y="588433"/>
                  <a:pt x="1056473" y="588433"/>
                </a:cubicBezTo>
                <a:cubicBezTo>
                  <a:pt x="1022606" y="587022"/>
                  <a:pt x="988576" y="587811"/>
                  <a:pt x="954873" y="584200"/>
                </a:cubicBezTo>
                <a:cubicBezTo>
                  <a:pt x="948598" y="583528"/>
                  <a:pt x="942402" y="580195"/>
                  <a:pt x="937940" y="575733"/>
                </a:cubicBezTo>
                <a:cubicBezTo>
                  <a:pt x="934785" y="572578"/>
                  <a:pt x="934675" y="567389"/>
                  <a:pt x="933707" y="563033"/>
                </a:cubicBezTo>
                <a:cubicBezTo>
                  <a:pt x="931845" y="554654"/>
                  <a:pt x="930884" y="546100"/>
                  <a:pt x="929473" y="537633"/>
                </a:cubicBezTo>
                <a:cubicBezTo>
                  <a:pt x="897018" y="539044"/>
                  <a:pt x="862174" y="529566"/>
                  <a:pt x="832107" y="541866"/>
                </a:cubicBezTo>
                <a:cubicBezTo>
                  <a:pt x="821577" y="546174"/>
                  <a:pt x="839609" y="564836"/>
                  <a:pt x="836340" y="575733"/>
                </a:cubicBezTo>
                <a:cubicBezTo>
                  <a:pt x="834527" y="581777"/>
                  <a:pt x="825051" y="581378"/>
                  <a:pt x="819407" y="584200"/>
                </a:cubicBezTo>
                <a:lnTo>
                  <a:pt x="679707" y="579966"/>
                </a:lnTo>
                <a:cubicBezTo>
                  <a:pt x="673951" y="579119"/>
                  <a:pt x="677071" y="568627"/>
                  <a:pt x="675473" y="563033"/>
                </a:cubicBezTo>
                <a:cubicBezTo>
                  <a:pt x="674247" y="558742"/>
                  <a:pt x="672466" y="554624"/>
                  <a:pt x="671240" y="550333"/>
                </a:cubicBezTo>
                <a:cubicBezTo>
                  <a:pt x="669642" y="544739"/>
                  <a:pt x="670234" y="538241"/>
                  <a:pt x="667007" y="533400"/>
                </a:cubicBezTo>
                <a:cubicBezTo>
                  <a:pt x="664185" y="529167"/>
                  <a:pt x="658540" y="527755"/>
                  <a:pt x="654307" y="524933"/>
                </a:cubicBezTo>
                <a:cubicBezTo>
                  <a:pt x="627496" y="526344"/>
                  <a:pt x="600636" y="527025"/>
                  <a:pt x="573873" y="529166"/>
                </a:cubicBezTo>
                <a:cubicBezTo>
                  <a:pt x="565317" y="529851"/>
                  <a:pt x="554990" y="527814"/>
                  <a:pt x="548473" y="533400"/>
                </a:cubicBezTo>
                <a:cubicBezTo>
                  <a:pt x="543010" y="538083"/>
                  <a:pt x="545527" y="547487"/>
                  <a:pt x="544240" y="554566"/>
                </a:cubicBezTo>
                <a:cubicBezTo>
                  <a:pt x="542705" y="563011"/>
                  <a:pt x="541418" y="571499"/>
                  <a:pt x="540007" y="579966"/>
                </a:cubicBezTo>
                <a:cubicBezTo>
                  <a:pt x="503318" y="578555"/>
                  <a:pt x="466522" y="578869"/>
                  <a:pt x="429940" y="575733"/>
                </a:cubicBezTo>
                <a:cubicBezTo>
                  <a:pt x="422543" y="575099"/>
                  <a:pt x="388191" y="566354"/>
                  <a:pt x="374907" y="563033"/>
                </a:cubicBezTo>
                <a:cubicBezTo>
                  <a:pt x="388200" y="561134"/>
                  <a:pt x="416978" y="566940"/>
                  <a:pt x="400307" y="546100"/>
                </a:cubicBezTo>
                <a:cubicBezTo>
                  <a:pt x="397129" y="542127"/>
                  <a:pt x="392671" y="538123"/>
                  <a:pt x="387607" y="537633"/>
                </a:cubicBezTo>
                <a:cubicBezTo>
                  <a:pt x="348254" y="533825"/>
                  <a:pt x="308584" y="534811"/>
                  <a:pt x="269073" y="533400"/>
                </a:cubicBezTo>
                <a:cubicBezTo>
                  <a:pt x="267662" y="539044"/>
                  <a:pt x="265796" y="544594"/>
                  <a:pt x="264840" y="550333"/>
                </a:cubicBezTo>
                <a:cubicBezTo>
                  <a:pt x="255479" y="606502"/>
                  <a:pt x="276579" y="585198"/>
                  <a:pt x="192873" y="579966"/>
                </a:cubicBezTo>
                <a:cubicBezTo>
                  <a:pt x="184406" y="578555"/>
                  <a:pt x="175852" y="577595"/>
                  <a:pt x="167473" y="575733"/>
                </a:cubicBezTo>
                <a:cubicBezTo>
                  <a:pt x="163117" y="574765"/>
                  <a:pt x="159102" y="572582"/>
                  <a:pt x="154773" y="571500"/>
                </a:cubicBezTo>
                <a:cubicBezTo>
                  <a:pt x="147793" y="569755"/>
                  <a:pt x="140662" y="568677"/>
                  <a:pt x="133607" y="567266"/>
                </a:cubicBezTo>
                <a:cubicBezTo>
                  <a:pt x="120336" y="514185"/>
                  <a:pt x="136747" y="534229"/>
                  <a:pt x="65873" y="529166"/>
                </a:cubicBezTo>
                <a:cubicBezTo>
                  <a:pt x="46118" y="524933"/>
                  <a:pt x="25366" y="523970"/>
                  <a:pt x="6607" y="516466"/>
                </a:cubicBezTo>
                <a:cubicBezTo>
                  <a:pt x="2464" y="514809"/>
                  <a:pt x="2373" y="508228"/>
                  <a:pt x="2373" y="503766"/>
                </a:cubicBezTo>
                <a:cubicBezTo>
                  <a:pt x="2373" y="490988"/>
                  <a:pt x="-5156" y="470656"/>
                  <a:pt x="6607" y="465666"/>
                </a:cubicBezTo>
                <a:cubicBezTo>
                  <a:pt x="48681" y="447817"/>
                  <a:pt x="142073" y="444500"/>
                  <a:pt x="142073" y="444500"/>
                </a:cubicBezTo>
                <a:cubicBezTo>
                  <a:pt x="140662" y="420511"/>
                  <a:pt x="140703" y="396392"/>
                  <a:pt x="137840" y="372533"/>
                </a:cubicBezTo>
                <a:cubicBezTo>
                  <a:pt x="136454" y="360979"/>
                  <a:pt x="129373" y="338666"/>
                  <a:pt x="129373" y="338666"/>
                </a:cubicBezTo>
                <a:cubicBezTo>
                  <a:pt x="130828" y="292101"/>
                  <a:pt x="139956" y="229305"/>
                  <a:pt x="142073" y="207433"/>
                </a:cubicBezTo>
                <a:close/>
              </a:path>
            </a:pathLst>
          </a:cu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F91F08A-4F88-4472-A07C-4DFA5C93DD35}"/>
              </a:ext>
            </a:extLst>
          </p:cNvPr>
          <p:cNvSpPr txBox="1"/>
          <p:nvPr/>
        </p:nvSpPr>
        <p:spPr>
          <a:xfrm>
            <a:off x="827089" y="3946146"/>
            <a:ext cx="1185402" cy="269483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da-DK" sz="1100" dirty="0"/>
              <a:t>Aktivitet</a:t>
            </a:r>
            <a:endParaRPr lang="en-US" sz="11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BD231B6-6D2D-4C04-AB85-4FC67041393F}"/>
              </a:ext>
            </a:extLst>
          </p:cNvPr>
          <p:cNvSpPr txBox="1"/>
          <p:nvPr/>
        </p:nvSpPr>
        <p:spPr>
          <a:xfrm>
            <a:off x="2074498" y="3947824"/>
            <a:ext cx="923401" cy="26161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da-DK" sz="1100" dirty="0"/>
              <a:t>Fag</a:t>
            </a:r>
            <a:endParaRPr lang="en-US" sz="1100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CB9C60D-9A5D-4CBB-96D8-CA325ECED180}"/>
              </a:ext>
            </a:extLst>
          </p:cNvPr>
          <p:cNvSpPr txBox="1"/>
          <p:nvPr/>
        </p:nvSpPr>
        <p:spPr>
          <a:xfrm>
            <a:off x="3053298" y="3943608"/>
            <a:ext cx="295327" cy="26161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da-DK" sz="1100" dirty="0"/>
              <a:t>M</a:t>
            </a:r>
            <a:endParaRPr lang="en-US" sz="11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ED7D2CD-D27D-417E-BCA1-BE6D20B69A34}"/>
              </a:ext>
            </a:extLst>
          </p:cNvPr>
          <p:cNvSpPr txBox="1"/>
          <p:nvPr/>
        </p:nvSpPr>
        <p:spPr>
          <a:xfrm>
            <a:off x="3348625" y="3943608"/>
            <a:ext cx="295327" cy="26161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da-DK" sz="1100" dirty="0"/>
              <a:t>T</a:t>
            </a:r>
            <a:endParaRPr lang="en-US" sz="11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2D7F046-0D62-45A1-BDFE-36FF9CCC1CC9}"/>
              </a:ext>
            </a:extLst>
          </p:cNvPr>
          <p:cNvSpPr txBox="1"/>
          <p:nvPr/>
        </p:nvSpPr>
        <p:spPr>
          <a:xfrm>
            <a:off x="3643952" y="3943608"/>
            <a:ext cx="295327" cy="26161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da-DK" sz="1100" dirty="0"/>
              <a:t>O</a:t>
            </a:r>
            <a:endParaRPr lang="en-US" sz="1100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06E7349-51F2-4F1A-9C16-FCE5BF6D7410}"/>
              </a:ext>
            </a:extLst>
          </p:cNvPr>
          <p:cNvSpPr txBox="1"/>
          <p:nvPr/>
        </p:nvSpPr>
        <p:spPr>
          <a:xfrm>
            <a:off x="3937570" y="3943608"/>
            <a:ext cx="295327" cy="26161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da-DK" sz="1100" dirty="0"/>
              <a:t>T</a:t>
            </a:r>
            <a:endParaRPr lang="en-US" sz="11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E144741-F09A-4AA5-BF09-7C881FB8F716}"/>
              </a:ext>
            </a:extLst>
          </p:cNvPr>
          <p:cNvSpPr txBox="1"/>
          <p:nvPr/>
        </p:nvSpPr>
        <p:spPr>
          <a:xfrm>
            <a:off x="4232896" y="3943608"/>
            <a:ext cx="295327" cy="26161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da-DK" sz="1100" dirty="0"/>
              <a:t>F</a:t>
            </a:r>
            <a:endParaRPr lang="en-US" sz="1100" dirty="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467CB5D-ECA2-4A9C-97CA-06E2C9B74F1D}"/>
              </a:ext>
            </a:extLst>
          </p:cNvPr>
          <p:cNvSpPr txBox="1"/>
          <p:nvPr/>
        </p:nvSpPr>
        <p:spPr>
          <a:xfrm>
            <a:off x="4590231" y="3946147"/>
            <a:ext cx="626884" cy="26161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da-DK" sz="1100" dirty="0"/>
              <a:t>%</a:t>
            </a:r>
            <a:endParaRPr lang="en-US" sz="11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72CA6C2-D638-4A9B-9FAB-D3048A864A09}"/>
              </a:ext>
            </a:extLst>
          </p:cNvPr>
          <p:cNvSpPr txBox="1"/>
          <p:nvPr/>
        </p:nvSpPr>
        <p:spPr>
          <a:xfrm>
            <a:off x="5272513" y="3954020"/>
            <a:ext cx="871986" cy="26161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da-DK" sz="1100" dirty="0"/>
              <a:t>Godkendt</a:t>
            </a:r>
            <a:endParaRPr lang="en-US" sz="1100" dirty="0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441F74E4-E459-44E9-B739-B938F1A270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85452" y="2076681"/>
            <a:ext cx="2249902" cy="575163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A33FC938-9FC9-41CB-B9DE-177440C97E7A}"/>
              </a:ext>
            </a:extLst>
          </p:cNvPr>
          <p:cNvSpPr txBox="1"/>
          <p:nvPr/>
        </p:nvSpPr>
        <p:spPr>
          <a:xfrm>
            <a:off x="3170263" y="2051050"/>
            <a:ext cx="887387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da-DK" sz="1000" dirty="0">
                <a:solidFill>
                  <a:schemeClr val="bg1">
                    <a:lumMod val="50000"/>
                  </a:schemeClr>
                </a:solidFill>
              </a:rPr>
              <a:t>Vælg Uge</a:t>
            </a:r>
            <a:endParaRPr lang="en-US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96322E4-A434-4B2B-8140-C4FD608BFAC2}"/>
              </a:ext>
            </a:extLst>
          </p:cNvPr>
          <p:cNvSpPr txBox="1"/>
          <p:nvPr/>
        </p:nvSpPr>
        <p:spPr>
          <a:xfrm>
            <a:off x="3163178" y="2251312"/>
            <a:ext cx="1969962" cy="292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da-DK" sz="1300" dirty="0">
                <a:solidFill>
                  <a:schemeClr val="tx1">
                    <a:lumMod val="50000"/>
                  </a:schemeClr>
                </a:solidFill>
              </a:rPr>
              <a:t>Uge 8 (28.2.-04.03.)</a:t>
            </a:r>
            <a:endParaRPr lang="en-US" sz="1300" dirty="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79347C87-93D9-459B-A1D6-F0921F487F6C}"/>
              </a:ext>
            </a:extLst>
          </p:cNvPr>
          <p:cNvGrpSpPr/>
          <p:nvPr/>
        </p:nvGrpSpPr>
        <p:grpSpPr>
          <a:xfrm>
            <a:off x="827088" y="4257520"/>
            <a:ext cx="5602588" cy="400110"/>
            <a:chOff x="827088" y="4257520"/>
            <a:chExt cx="5602588" cy="400110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91466C33-1D0D-4925-92ED-4AB0AF027C60}"/>
                </a:ext>
              </a:extLst>
            </p:cNvPr>
            <p:cNvSpPr txBox="1"/>
            <p:nvPr/>
          </p:nvSpPr>
          <p:spPr>
            <a:xfrm>
              <a:off x="3053298" y="4322902"/>
              <a:ext cx="295327" cy="261610"/>
            </a:xfrm>
            <a:prstGeom prst="rect">
              <a:avLst/>
            </a:prstGeom>
            <a:solidFill>
              <a:srgbClr val="FFB3B3"/>
            </a:solidFill>
            <a:ln w="19050">
              <a:solidFill>
                <a:schemeClr val="bg1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lvl="0" algn="ctr"/>
              <a:endParaRPr lang="en-US" sz="1100" dirty="0"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9BCD027E-44FA-4C1B-9DE8-51769FC271F3}"/>
                </a:ext>
              </a:extLst>
            </p:cNvPr>
            <p:cNvSpPr txBox="1"/>
            <p:nvPr/>
          </p:nvSpPr>
          <p:spPr>
            <a:xfrm>
              <a:off x="3348625" y="4322902"/>
              <a:ext cx="295327" cy="261610"/>
            </a:xfrm>
            <a:prstGeom prst="rect">
              <a:avLst/>
            </a:prstGeom>
            <a:solidFill>
              <a:srgbClr val="FFB3B3"/>
            </a:solidFill>
            <a:ln w="19050">
              <a:solidFill>
                <a:schemeClr val="bg1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lvl="0" algn="ctr"/>
              <a:r>
                <a:rPr lang="da-DK" sz="1100" dirty="0"/>
                <a:t>x</a:t>
              </a:r>
              <a:endParaRPr lang="en-US" sz="1100" dirty="0"/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1623B1B2-86FB-47C4-8FC3-845CB8D829C3}"/>
                </a:ext>
              </a:extLst>
            </p:cNvPr>
            <p:cNvSpPr txBox="1"/>
            <p:nvPr/>
          </p:nvSpPr>
          <p:spPr>
            <a:xfrm>
              <a:off x="4232896" y="4322902"/>
              <a:ext cx="295327" cy="261610"/>
            </a:xfrm>
            <a:prstGeom prst="rect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lvl="0" algn="ctr"/>
              <a:r>
                <a:rPr lang="da-DK" sz="1100" dirty="0"/>
                <a:t>x</a:t>
              </a:r>
              <a:endParaRPr lang="en-US" sz="1100" dirty="0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DB6AF9E1-73D3-42F6-8604-47AC0C7FDABA}"/>
                </a:ext>
              </a:extLst>
            </p:cNvPr>
            <p:cNvSpPr txBox="1"/>
            <p:nvPr/>
          </p:nvSpPr>
          <p:spPr>
            <a:xfrm>
              <a:off x="827088" y="4257520"/>
              <a:ext cx="1185402" cy="40011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>
              <a:spAutoFit/>
            </a:bodyPr>
            <a:lstStyle/>
            <a:p>
              <a:pPr lvl="0"/>
              <a:r>
                <a:rPr lang="da-DK" sz="1000" dirty="0"/>
                <a:t>Installationer over loft</a:t>
              </a:r>
              <a:endParaRPr lang="en-US" sz="1000" dirty="0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25F216D2-585B-4749-8321-FF4D4D501BED}"/>
                </a:ext>
              </a:extLst>
            </p:cNvPr>
            <p:cNvSpPr txBox="1"/>
            <p:nvPr/>
          </p:nvSpPr>
          <p:spPr>
            <a:xfrm>
              <a:off x="2074498" y="4330597"/>
              <a:ext cx="911535" cy="246221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>
              <a:spAutoFit/>
            </a:bodyPr>
            <a:lstStyle/>
            <a:p>
              <a:pPr lvl="0"/>
              <a:r>
                <a:rPr lang="en-US" sz="1000" dirty="0" err="1"/>
                <a:t>Elektriker</a:t>
              </a:r>
              <a:endParaRPr lang="en-US" sz="1000" dirty="0"/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75CB754D-E2CE-4EAC-A7C9-C339BC8A39A5}"/>
                </a:ext>
              </a:extLst>
            </p:cNvPr>
            <p:cNvSpPr txBox="1"/>
            <p:nvPr/>
          </p:nvSpPr>
          <p:spPr>
            <a:xfrm>
              <a:off x="4595488" y="4330597"/>
              <a:ext cx="621627" cy="246221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>
              <a:spAutoFit/>
            </a:bodyPr>
            <a:lstStyle/>
            <a:p>
              <a:pPr lvl="0"/>
              <a:r>
                <a:rPr lang="da-DK" sz="1000" dirty="0"/>
                <a:t>70%</a:t>
              </a:r>
              <a:endParaRPr lang="en-US" sz="1000" dirty="0"/>
            </a:p>
          </p:txBody>
        </p:sp>
        <p:pic>
          <p:nvPicPr>
            <p:cNvPr id="74" name="Graphic 73" descr="Checkbox Checked outline">
              <a:extLst>
                <a:ext uri="{FF2B5EF4-FFF2-40B4-BE49-F238E27FC236}">
                  <a16:creationId xmlns:a16="http://schemas.microsoft.com/office/drawing/2014/main" id="{27AB21BC-217D-4908-9BE6-0B17CBB6B1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292878" y="4311314"/>
              <a:ext cx="284786" cy="284786"/>
            </a:xfrm>
            <a:prstGeom prst="rect">
              <a:avLst/>
            </a:prstGeom>
          </p:spPr>
        </p:pic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B5298695-2CA9-47F3-B8FE-7DAB1B1E94EC}"/>
                </a:ext>
              </a:extLst>
            </p:cNvPr>
            <p:cNvSpPr txBox="1"/>
            <p:nvPr/>
          </p:nvSpPr>
          <p:spPr>
            <a:xfrm>
              <a:off x="5543475" y="4330597"/>
              <a:ext cx="621627" cy="246221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>
              <a:spAutoFit/>
            </a:bodyPr>
            <a:lstStyle/>
            <a:p>
              <a:pPr lvl="0"/>
              <a:r>
                <a:rPr lang="da-DK" sz="1000" dirty="0"/>
                <a:t>(ATR)</a:t>
              </a:r>
              <a:endParaRPr lang="en-US" sz="1000" dirty="0"/>
            </a:p>
          </p:txBody>
        </p: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26F85210-338B-4C84-817A-0DA0A67675E1}"/>
                </a:ext>
              </a:extLst>
            </p:cNvPr>
            <p:cNvCxnSpPr>
              <a:cxnSpLocks/>
            </p:cNvCxnSpPr>
            <p:nvPr/>
          </p:nvCxnSpPr>
          <p:spPr>
            <a:xfrm>
              <a:off x="848608" y="4629968"/>
              <a:ext cx="5581068" cy="27662"/>
            </a:xfrm>
            <a:prstGeom prst="line">
              <a:avLst/>
            </a:prstGeom>
            <a:ln>
              <a:solidFill>
                <a:srgbClr val="59595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7A87B139-A564-4F07-9F07-609B5B2833A8}"/>
                </a:ext>
              </a:extLst>
            </p:cNvPr>
            <p:cNvSpPr txBox="1"/>
            <p:nvPr/>
          </p:nvSpPr>
          <p:spPr>
            <a:xfrm>
              <a:off x="3643952" y="4322902"/>
              <a:ext cx="295327" cy="261610"/>
            </a:xfrm>
            <a:prstGeom prst="rect">
              <a:avLst/>
            </a:prstGeom>
            <a:solidFill>
              <a:srgbClr val="FFB3B3"/>
            </a:solidFill>
            <a:ln w="19050">
              <a:solidFill>
                <a:schemeClr val="bg1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lvl="0" algn="ctr"/>
              <a:r>
                <a:rPr lang="da-DK" sz="1100" dirty="0"/>
                <a:t>x</a:t>
              </a:r>
              <a:endParaRPr lang="en-US" sz="1100" dirty="0"/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4CC803A6-94F6-468E-BD4F-734125709E7F}"/>
                </a:ext>
              </a:extLst>
            </p:cNvPr>
            <p:cNvSpPr txBox="1"/>
            <p:nvPr/>
          </p:nvSpPr>
          <p:spPr>
            <a:xfrm>
              <a:off x="3937570" y="4322902"/>
              <a:ext cx="295327" cy="261610"/>
            </a:xfrm>
            <a:prstGeom prst="rect">
              <a:avLst/>
            </a:prstGeom>
            <a:solidFill>
              <a:srgbClr val="FFB3B3"/>
            </a:solidFill>
            <a:ln w="19050">
              <a:solidFill>
                <a:srgbClr val="BA1223"/>
              </a:solidFill>
            </a:ln>
          </p:spPr>
          <p:txBody>
            <a:bodyPr wrap="square">
              <a:spAutoFit/>
            </a:bodyPr>
            <a:lstStyle/>
            <a:p>
              <a:pPr lvl="0" algn="ctr"/>
              <a:r>
                <a:rPr lang="da-DK" sz="1100" dirty="0"/>
                <a:t>x</a:t>
              </a:r>
              <a:endParaRPr lang="en-US" sz="1100" dirty="0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BC032B7F-B2F8-49C6-8F3A-D7D626422CF2}"/>
              </a:ext>
            </a:extLst>
          </p:cNvPr>
          <p:cNvGrpSpPr/>
          <p:nvPr/>
        </p:nvGrpSpPr>
        <p:grpSpPr>
          <a:xfrm>
            <a:off x="827088" y="4704730"/>
            <a:ext cx="5602588" cy="318654"/>
            <a:chOff x="827088" y="4311314"/>
            <a:chExt cx="5602588" cy="318654"/>
          </a:xfrm>
        </p:grpSpPr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82DF8A49-1F8A-4667-9793-481C2B7CF4AA}"/>
                </a:ext>
              </a:extLst>
            </p:cNvPr>
            <p:cNvSpPr txBox="1"/>
            <p:nvPr/>
          </p:nvSpPr>
          <p:spPr>
            <a:xfrm>
              <a:off x="3053298" y="4322902"/>
              <a:ext cx="295327" cy="261610"/>
            </a:xfrm>
            <a:prstGeom prst="rect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lvl="0" algn="ctr"/>
              <a:endParaRPr lang="en-US" sz="1100" dirty="0"/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A648801D-D399-4F19-99AE-6030C5C63907}"/>
                </a:ext>
              </a:extLst>
            </p:cNvPr>
            <p:cNvSpPr txBox="1"/>
            <p:nvPr/>
          </p:nvSpPr>
          <p:spPr>
            <a:xfrm>
              <a:off x="3348625" y="4322902"/>
              <a:ext cx="295327" cy="261610"/>
            </a:xfrm>
            <a:prstGeom prst="rect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lvl="0" algn="ctr"/>
              <a:endParaRPr lang="en-US" sz="1100" dirty="0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5AC4BBCE-9492-4FF9-933F-F76FD9B56180}"/>
                </a:ext>
              </a:extLst>
            </p:cNvPr>
            <p:cNvSpPr txBox="1"/>
            <p:nvPr/>
          </p:nvSpPr>
          <p:spPr>
            <a:xfrm>
              <a:off x="4232896" y="4322902"/>
              <a:ext cx="295327" cy="261610"/>
            </a:xfrm>
            <a:prstGeom prst="rect">
              <a:avLst/>
            </a:prstGeom>
            <a:solidFill>
              <a:srgbClr val="C9E9E6"/>
            </a:solidFill>
            <a:ln w="19050">
              <a:solidFill>
                <a:schemeClr val="bg1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lvl="0" algn="ctr"/>
              <a:r>
                <a:rPr lang="da-DK" sz="1100" dirty="0"/>
                <a:t>x</a:t>
              </a:r>
              <a:endParaRPr lang="en-US" sz="1100" dirty="0"/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ED0A7B61-7CEF-4DC2-B4AE-122A1B79CD04}"/>
                </a:ext>
              </a:extLst>
            </p:cNvPr>
            <p:cNvSpPr txBox="1"/>
            <p:nvPr/>
          </p:nvSpPr>
          <p:spPr>
            <a:xfrm>
              <a:off x="827088" y="4330597"/>
              <a:ext cx="1185402" cy="246221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>
              <a:spAutoFit/>
            </a:bodyPr>
            <a:lstStyle/>
            <a:p>
              <a:pPr lvl="0"/>
              <a:r>
                <a:rPr lang="da-DK" sz="1000" dirty="0"/>
                <a:t>Gulvfliser</a:t>
              </a:r>
              <a:endParaRPr lang="en-US" sz="10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93FD049F-EBB0-4868-A54F-F9D6730BB4FE}"/>
                </a:ext>
              </a:extLst>
            </p:cNvPr>
            <p:cNvSpPr txBox="1"/>
            <p:nvPr/>
          </p:nvSpPr>
          <p:spPr>
            <a:xfrm>
              <a:off x="2074498" y="4330597"/>
              <a:ext cx="920903" cy="246221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>
              <a:spAutoFit/>
            </a:bodyPr>
            <a:lstStyle/>
            <a:p>
              <a:pPr lvl="0"/>
              <a:r>
                <a:rPr lang="da-DK" sz="1000" dirty="0"/>
                <a:t>Fliselægger</a:t>
              </a:r>
              <a:endParaRPr lang="en-US" sz="1000" dirty="0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0AD89A4E-6A56-48B3-92E8-7EA172B7F4FB}"/>
                </a:ext>
              </a:extLst>
            </p:cNvPr>
            <p:cNvSpPr txBox="1"/>
            <p:nvPr/>
          </p:nvSpPr>
          <p:spPr>
            <a:xfrm>
              <a:off x="4595488" y="4330597"/>
              <a:ext cx="621627" cy="246221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>
              <a:spAutoFit/>
            </a:bodyPr>
            <a:lstStyle/>
            <a:p>
              <a:pPr lvl="0"/>
              <a:r>
                <a:rPr lang="da-DK" sz="1000" dirty="0"/>
                <a:t>0%</a:t>
              </a:r>
              <a:endParaRPr lang="en-US" sz="1000" dirty="0"/>
            </a:p>
          </p:txBody>
        </p:sp>
        <p:pic>
          <p:nvPicPr>
            <p:cNvPr id="88" name="Graphic 87" descr="Checkbox Checked outline">
              <a:extLst>
                <a:ext uri="{FF2B5EF4-FFF2-40B4-BE49-F238E27FC236}">
                  <a16:creationId xmlns:a16="http://schemas.microsoft.com/office/drawing/2014/main" id="{78FC05D8-67C3-4C39-929F-19C10CB08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292878" y="4311314"/>
              <a:ext cx="284786" cy="284786"/>
            </a:xfrm>
            <a:prstGeom prst="rect">
              <a:avLst/>
            </a:prstGeom>
          </p:spPr>
        </p:pic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C296D0E2-EA3E-4C75-8CAC-5354D4F677C3}"/>
                </a:ext>
              </a:extLst>
            </p:cNvPr>
            <p:cNvSpPr txBox="1"/>
            <p:nvPr/>
          </p:nvSpPr>
          <p:spPr>
            <a:xfrm>
              <a:off x="5543475" y="4330597"/>
              <a:ext cx="621627" cy="246221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>
              <a:spAutoFit/>
            </a:bodyPr>
            <a:lstStyle/>
            <a:p>
              <a:pPr lvl="0"/>
              <a:r>
                <a:rPr lang="da-DK" sz="1000" dirty="0"/>
                <a:t>(ATR)</a:t>
              </a:r>
              <a:endParaRPr lang="en-US" sz="1000" dirty="0"/>
            </a:p>
          </p:txBody>
        </p: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DC33C9B3-EECC-4FE4-90A7-EC936F882477}"/>
                </a:ext>
              </a:extLst>
            </p:cNvPr>
            <p:cNvCxnSpPr>
              <a:cxnSpLocks/>
            </p:cNvCxnSpPr>
            <p:nvPr/>
          </p:nvCxnSpPr>
          <p:spPr>
            <a:xfrm>
              <a:off x="848608" y="4629968"/>
              <a:ext cx="5581068" cy="0"/>
            </a:xfrm>
            <a:prstGeom prst="line">
              <a:avLst/>
            </a:prstGeom>
            <a:ln>
              <a:solidFill>
                <a:srgbClr val="59595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D8A9C877-8EF4-454E-ACD0-7350F9B43A5F}"/>
                </a:ext>
              </a:extLst>
            </p:cNvPr>
            <p:cNvSpPr txBox="1"/>
            <p:nvPr/>
          </p:nvSpPr>
          <p:spPr>
            <a:xfrm>
              <a:off x="3643952" y="4322902"/>
              <a:ext cx="295327" cy="261610"/>
            </a:xfrm>
            <a:prstGeom prst="rect">
              <a:avLst/>
            </a:prstGeom>
            <a:solidFill>
              <a:srgbClr val="C9E9E6"/>
            </a:solidFill>
            <a:ln w="19050">
              <a:solidFill>
                <a:schemeClr val="bg1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lvl="0" algn="ctr"/>
              <a:endParaRPr lang="en-US" sz="1100" dirty="0"/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81E3A8EA-0F6C-456C-801A-BCBF4503627C}"/>
                </a:ext>
              </a:extLst>
            </p:cNvPr>
            <p:cNvSpPr txBox="1"/>
            <p:nvPr/>
          </p:nvSpPr>
          <p:spPr>
            <a:xfrm>
              <a:off x="3937570" y="4322902"/>
              <a:ext cx="295327" cy="261610"/>
            </a:xfrm>
            <a:prstGeom prst="rect">
              <a:avLst/>
            </a:prstGeom>
            <a:solidFill>
              <a:srgbClr val="C9E9E6"/>
            </a:solidFill>
            <a:ln w="19050">
              <a:solidFill>
                <a:srgbClr val="BA1223"/>
              </a:solidFill>
            </a:ln>
          </p:spPr>
          <p:txBody>
            <a:bodyPr wrap="square">
              <a:spAutoFit/>
            </a:bodyPr>
            <a:lstStyle/>
            <a:p>
              <a:pPr lvl="0" algn="ctr"/>
              <a:r>
                <a:rPr lang="da-DK" sz="1100" dirty="0"/>
                <a:t>x</a:t>
              </a:r>
              <a:endParaRPr lang="en-US" sz="1100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29E70CA6-EFA6-4860-BE3A-106B67665254}"/>
              </a:ext>
            </a:extLst>
          </p:cNvPr>
          <p:cNvGrpSpPr/>
          <p:nvPr/>
        </p:nvGrpSpPr>
        <p:grpSpPr>
          <a:xfrm>
            <a:off x="827088" y="5098146"/>
            <a:ext cx="5602588" cy="318654"/>
            <a:chOff x="827088" y="4311314"/>
            <a:chExt cx="5602588" cy="318654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3AC04602-D87A-4218-A32E-1CE3468B0598}"/>
                </a:ext>
              </a:extLst>
            </p:cNvPr>
            <p:cNvSpPr txBox="1"/>
            <p:nvPr/>
          </p:nvSpPr>
          <p:spPr>
            <a:xfrm>
              <a:off x="3053298" y="4322902"/>
              <a:ext cx="295327" cy="261610"/>
            </a:xfrm>
            <a:prstGeom prst="rect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lvl="0" algn="ctr"/>
              <a:endParaRPr lang="en-US" sz="1100" dirty="0"/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F5CAAC85-931C-4745-B3D5-6CBA1B033C67}"/>
                </a:ext>
              </a:extLst>
            </p:cNvPr>
            <p:cNvSpPr txBox="1"/>
            <p:nvPr/>
          </p:nvSpPr>
          <p:spPr>
            <a:xfrm>
              <a:off x="3348625" y="4322902"/>
              <a:ext cx="295327" cy="261610"/>
            </a:xfrm>
            <a:prstGeom prst="rect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lvl="0" algn="ctr"/>
              <a:endParaRPr lang="en-US" sz="1100" dirty="0"/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E210C589-35DE-4715-AEAF-0E89B4C22B96}"/>
                </a:ext>
              </a:extLst>
            </p:cNvPr>
            <p:cNvSpPr txBox="1"/>
            <p:nvPr/>
          </p:nvSpPr>
          <p:spPr>
            <a:xfrm>
              <a:off x="3643952" y="4322902"/>
              <a:ext cx="295327" cy="261610"/>
            </a:xfrm>
            <a:prstGeom prst="rect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lvl="0" algn="ctr"/>
              <a:endParaRPr lang="en-US" sz="1100" dirty="0"/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59213C25-FCF3-440A-A4B5-2F6021CC8313}"/>
                </a:ext>
              </a:extLst>
            </p:cNvPr>
            <p:cNvSpPr txBox="1"/>
            <p:nvPr/>
          </p:nvSpPr>
          <p:spPr>
            <a:xfrm>
              <a:off x="3937570" y="4322902"/>
              <a:ext cx="295327" cy="261610"/>
            </a:xfrm>
            <a:prstGeom prst="rect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lvl="0" algn="ctr"/>
              <a:endParaRPr lang="en-US" sz="1100" dirty="0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FD534401-A0DB-4A1C-B508-CCC857E70356}"/>
                </a:ext>
              </a:extLst>
            </p:cNvPr>
            <p:cNvSpPr txBox="1"/>
            <p:nvPr/>
          </p:nvSpPr>
          <p:spPr>
            <a:xfrm>
              <a:off x="4232896" y="4322902"/>
              <a:ext cx="295327" cy="261610"/>
            </a:xfrm>
            <a:prstGeom prst="rect">
              <a:avLst/>
            </a:prstGeom>
            <a:solidFill>
              <a:srgbClr val="DBE4B5"/>
            </a:solidFill>
            <a:ln w="19050">
              <a:solidFill>
                <a:schemeClr val="bg1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lvl="0" algn="ctr"/>
              <a:r>
                <a:rPr lang="da-DK" sz="1100" dirty="0"/>
                <a:t>x</a:t>
              </a:r>
              <a:endParaRPr lang="en-US" sz="1100" dirty="0"/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93B0E12C-8C04-43F4-A8DD-B443712125D0}"/>
                </a:ext>
              </a:extLst>
            </p:cNvPr>
            <p:cNvSpPr txBox="1"/>
            <p:nvPr/>
          </p:nvSpPr>
          <p:spPr>
            <a:xfrm>
              <a:off x="827088" y="4330597"/>
              <a:ext cx="1185402" cy="246221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>
              <a:spAutoFit/>
            </a:bodyPr>
            <a:lstStyle/>
            <a:p>
              <a:pPr lvl="0"/>
              <a:r>
                <a:rPr lang="da-DK" sz="1000" dirty="0"/>
                <a:t>Maling vægge</a:t>
              </a:r>
              <a:endParaRPr lang="en-US" sz="1000" dirty="0"/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D0EFA7F6-888D-4C44-A6F8-DD5E996EB2D1}"/>
                </a:ext>
              </a:extLst>
            </p:cNvPr>
            <p:cNvSpPr txBox="1"/>
            <p:nvPr/>
          </p:nvSpPr>
          <p:spPr>
            <a:xfrm>
              <a:off x="2074498" y="4330597"/>
              <a:ext cx="911535" cy="246221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>
              <a:spAutoFit/>
            </a:bodyPr>
            <a:lstStyle/>
            <a:p>
              <a:pPr lvl="0"/>
              <a:r>
                <a:rPr lang="da-DK" sz="1000" dirty="0"/>
                <a:t>Maler</a:t>
              </a:r>
              <a:endParaRPr lang="en-US" sz="1000" dirty="0"/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2DC478B1-7BC1-44BB-BF8F-05907F1F7C1A}"/>
                </a:ext>
              </a:extLst>
            </p:cNvPr>
            <p:cNvSpPr txBox="1"/>
            <p:nvPr/>
          </p:nvSpPr>
          <p:spPr>
            <a:xfrm>
              <a:off x="4595488" y="4330597"/>
              <a:ext cx="621627" cy="246221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>
              <a:spAutoFit/>
            </a:bodyPr>
            <a:lstStyle/>
            <a:p>
              <a:pPr lvl="0"/>
              <a:r>
                <a:rPr lang="da-DK" sz="1000" dirty="0"/>
                <a:t>0%</a:t>
              </a:r>
              <a:endParaRPr lang="en-US" sz="1000" dirty="0"/>
            </a:p>
          </p:txBody>
        </p:sp>
        <p:pic>
          <p:nvPicPr>
            <p:cNvPr id="100" name="Graphic 99" descr="Checkbox Checked outline">
              <a:extLst>
                <a:ext uri="{FF2B5EF4-FFF2-40B4-BE49-F238E27FC236}">
                  <a16:creationId xmlns:a16="http://schemas.microsoft.com/office/drawing/2014/main" id="{258CA014-52BC-4944-A31B-B443A7A94EA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292878" y="4311314"/>
              <a:ext cx="284786" cy="284786"/>
            </a:xfrm>
            <a:prstGeom prst="rect">
              <a:avLst/>
            </a:prstGeom>
          </p:spPr>
        </p:pic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BCA695F9-7CDF-4227-8681-91204FEEFBDE}"/>
                </a:ext>
              </a:extLst>
            </p:cNvPr>
            <p:cNvSpPr txBox="1"/>
            <p:nvPr/>
          </p:nvSpPr>
          <p:spPr>
            <a:xfrm>
              <a:off x="5543475" y="4330597"/>
              <a:ext cx="621627" cy="246221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>
              <a:spAutoFit/>
            </a:bodyPr>
            <a:lstStyle/>
            <a:p>
              <a:pPr lvl="0"/>
              <a:r>
                <a:rPr lang="da-DK" sz="1000" dirty="0"/>
                <a:t>(ATR)</a:t>
              </a:r>
              <a:endParaRPr lang="en-US" sz="1000" dirty="0"/>
            </a:p>
          </p:txBody>
        </p: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ECD33696-A194-42CF-B94C-2AEA417B4833}"/>
                </a:ext>
              </a:extLst>
            </p:cNvPr>
            <p:cNvCxnSpPr>
              <a:cxnSpLocks/>
            </p:cNvCxnSpPr>
            <p:nvPr/>
          </p:nvCxnSpPr>
          <p:spPr>
            <a:xfrm>
              <a:off x="848608" y="4629968"/>
              <a:ext cx="5581068" cy="0"/>
            </a:xfrm>
            <a:prstGeom prst="line">
              <a:avLst/>
            </a:prstGeom>
            <a:ln>
              <a:solidFill>
                <a:srgbClr val="59595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578CA8B8-583B-44F4-8C80-D33EB6DB289D}"/>
              </a:ext>
            </a:extLst>
          </p:cNvPr>
          <p:cNvSpPr txBox="1"/>
          <p:nvPr/>
        </p:nvSpPr>
        <p:spPr>
          <a:xfrm>
            <a:off x="6187137" y="3952383"/>
            <a:ext cx="276334" cy="26161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da-DK" sz="1100" dirty="0"/>
              <a:t>…</a:t>
            </a:r>
            <a:endParaRPr lang="en-US" sz="1100" dirty="0"/>
          </a:p>
        </p:txBody>
      </p:sp>
      <p:pic>
        <p:nvPicPr>
          <p:cNvPr id="19" name="Graphic 18" descr="Comment Add outline">
            <a:extLst>
              <a:ext uri="{FF2B5EF4-FFF2-40B4-BE49-F238E27FC236}">
                <a16:creationId xmlns:a16="http://schemas.microsoft.com/office/drawing/2014/main" id="{2EADE7E6-16B7-45E9-A647-1000699973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96000" y="4282812"/>
            <a:ext cx="401472" cy="401472"/>
          </a:xfrm>
          <a:prstGeom prst="rect">
            <a:avLst/>
          </a:prstGeom>
        </p:spPr>
      </p:pic>
      <p:pic>
        <p:nvPicPr>
          <p:cNvPr id="76" name="Graphic 75" descr="Comment Add outline">
            <a:extLst>
              <a:ext uri="{FF2B5EF4-FFF2-40B4-BE49-F238E27FC236}">
                <a16:creationId xmlns:a16="http://schemas.microsoft.com/office/drawing/2014/main" id="{97BFB2E2-7068-4373-8FBB-1469F153FA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92291" y="4666425"/>
            <a:ext cx="401472" cy="401472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F97F87FB-8FBA-4129-AA63-DA63567815B6}"/>
              </a:ext>
            </a:extLst>
          </p:cNvPr>
          <p:cNvGrpSpPr/>
          <p:nvPr/>
        </p:nvGrpSpPr>
        <p:grpSpPr>
          <a:xfrm>
            <a:off x="6088309" y="5053198"/>
            <a:ext cx="401472" cy="401472"/>
            <a:chOff x="6088582" y="5067578"/>
            <a:chExt cx="401472" cy="401472"/>
          </a:xfrm>
        </p:grpSpPr>
        <p:pic>
          <p:nvPicPr>
            <p:cNvPr id="103" name="Graphic 102" descr="Comment Add outline">
              <a:extLst>
                <a:ext uri="{FF2B5EF4-FFF2-40B4-BE49-F238E27FC236}">
                  <a16:creationId xmlns:a16="http://schemas.microsoft.com/office/drawing/2014/main" id="{B1A1C494-0F3F-4FAF-A090-65C8F835F6D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088582" y="5067578"/>
              <a:ext cx="401472" cy="401472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6994150-B9B4-4D53-A7B6-C85011A65C20}"/>
                </a:ext>
              </a:extLst>
            </p:cNvPr>
            <p:cNvSpPr/>
            <p:nvPr/>
          </p:nvSpPr>
          <p:spPr>
            <a:xfrm>
              <a:off x="6187137" y="5175918"/>
              <a:ext cx="214279" cy="1328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100" noProof="0" dirty="0">
                  <a:solidFill>
                    <a:schemeClr val="tx1">
                      <a:lumMod val="50000"/>
                    </a:schemeClr>
                  </a:solidFill>
                </a:rPr>
                <a:t>1</a:t>
              </a:r>
              <a:endParaRPr lang="en-US" sz="1100" noProof="0" dirty="0" err="1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  <p:sp>
        <p:nvSpPr>
          <p:cNvPr id="22" name="Rectangle: Folded Corner 21">
            <a:extLst>
              <a:ext uri="{FF2B5EF4-FFF2-40B4-BE49-F238E27FC236}">
                <a16:creationId xmlns:a16="http://schemas.microsoft.com/office/drawing/2014/main" id="{BEF06CA2-7388-40C5-BD71-E72D5A2FE6AD}"/>
              </a:ext>
            </a:extLst>
          </p:cNvPr>
          <p:cNvSpPr/>
          <p:nvPr/>
        </p:nvSpPr>
        <p:spPr>
          <a:xfrm>
            <a:off x="6948011" y="4214014"/>
            <a:ext cx="2521207" cy="1323515"/>
          </a:xfrm>
          <a:prstGeom prst="foldedCorner">
            <a:avLst>
              <a:gd name="adj" fmla="val 24344"/>
            </a:avLst>
          </a:prstGeom>
          <a:solidFill>
            <a:srgbClr val="EBEFE4"/>
          </a:solidFill>
          <a:ln>
            <a:solidFill>
              <a:srgbClr val="DBE4B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a-DK" sz="1100" u="sng" dirty="0">
                <a:solidFill>
                  <a:schemeClr val="bg1">
                    <a:lumMod val="50000"/>
                  </a:schemeClr>
                </a:solidFill>
              </a:rPr>
              <a:t>Bemærkning - Maling vægge A1</a:t>
            </a:r>
          </a:p>
          <a:p>
            <a:endParaRPr lang="da-DK" sz="1100" noProof="0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da-DK" sz="1100" noProof="0" dirty="0">
                <a:solidFill>
                  <a:schemeClr val="bg1">
                    <a:lumMod val="50000"/>
                  </a:schemeClr>
                </a:solidFill>
              </a:rPr>
              <a:t>…</a:t>
            </a:r>
            <a:endParaRPr lang="en-US" sz="1100" noProof="0" dirty="0" err="1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4" name="Graphic 23" descr="Right pointing backhand index with solid fill">
            <a:extLst>
              <a:ext uri="{FF2B5EF4-FFF2-40B4-BE49-F238E27FC236}">
                <a16:creationId xmlns:a16="http://schemas.microsoft.com/office/drawing/2014/main" id="{88A24161-6C1D-4EAF-BF49-118AEC42DD4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4669381">
            <a:off x="6263097" y="5186429"/>
            <a:ext cx="442866" cy="442866"/>
          </a:xfrm>
          <a:prstGeom prst="rect">
            <a:avLst/>
          </a:prstGeom>
        </p:spPr>
      </p:pic>
      <p:sp>
        <p:nvSpPr>
          <p:cNvPr id="104" name="TextBox 103">
            <a:extLst>
              <a:ext uri="{FF2B5EF4-FFF2-40B4-BE49-F238E27FC236}">
                <a16:creationId xmlns:a16="http://schemas.microsoft.com/office/drawing/2014/main" id="{05F5E0C4-74A7-4ADC-8DB4-06DD8B1142C4}"/>
              </a:ext>
            </a:extLst>
          </p:cNvPr>
          <p:cNvSpPr txBox="1"/>
          <p:nvPr/>
        </p:nvSpPr>
        <p:spPr>
          <a:xfrm>
            <a:off x="9469218" y="1764179"/>
            <a:ext cx="1340673" cy="340519"/>
          </a:xfrm>
          <a:prstGeom prst="round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da-DK" sz="1400" dirty="0"/>
              <a:t>Bruger: XXX</a:t>
            </a:r>
            <a:endParaRPr lang="en-US" sz="1400"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BBD32E4A-D4F3-4079-AD8B-D440C1F26AF5}"/>
              </a:ext>
            </a:extLst>
          </p:cNvPr>
          <p:cNvCxnSpPr>
            <a:cxnSpLocks/>
          </p:cNvCxnSpPr>
          <p:nvPr/>
        </p:nvCxnSpPr>
        <p:spPr>
          <a:xfrm flipV="1">
            <a:off x="5877061" y="3049770"/>
            <a:ext cx="897202" cy="8298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698A22D6-4B81-4EA7-98E6-8EB6A396E9D7}"/>
              </a:ext>
            </a:extLst>
          </p:cNvPr>
          <p:cNvSpPr/>
          <p:nvPr/>
        </p:nvSpPr>
        <p:spPr>
          <a:xfrm>
            <a:off x="623888" y="1563601"/>
            <a:ext cx="10355262" cy="4680035"/>
          </a:xfrm>
          <a:prstGeom prst="roundRect">
            <a:avLst>
              <a:gd name="adj" fmla="val 7814"/>
            </a:avLst>
          </a:prstGeom>
          <a:noFill/>
          <a:ln w="19050">
            <a:solidFill>
              <a:schemeClr val="accent3"/>
            </a:solidFill>
            <a:prstDash val="dash"/>
          </a:ln>
          <a:effectLst>
            <a:outerShdw blurRad="38100" sx="1000" sy="1000" algn="tl" rotWithShape="0">
              <a:prstClr val="black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en-US" sz="1200" b="1" dirty="0" err="1">
              <a:solidFill>
                <a:schemeClr val="tx1"/>
              </a:solidFill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C5AF67B-7B92-40A8-A195-24D62C3579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7088" y="1118582"/>
            <a:ext cx="10741024" cy="369332"/>
          </a:xfrm>
        </p:spPr>
        <p:txBody>
          <a:bodyPr/>
          <a:lstStyle/>
          <a:p>
            <a:r>
              <a:rPr lang="en-US" dirty="0" err="1"/>
              <a:t>Projektforslag</a:t>
            </a:r>
            <a:r>
              <a:rPr lang="en-US" dirty="0"/>
              <a:t> Pihl - </a:t>
            </a:r>
            <a:r>
              <a:rPr lang="en-US" dirty="0" err="1"/>
              <a:t>arbejdsplan-koordiner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70208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PIRIT">
  <a:themeElements>
    <a:clrScheme name="SPIRIT">
      <a:dk1>
        <a:srgbClr val="000000"/>
      </a:dk1>
      <a:lt1>
        <a:srgbClr val="FFFFFF"/>
      </a:lt1>
      <a:dk2>
        <a:srgbClr val="004C64"/>
      </a:dk2>
      <a:lt2>
        <a:srgbClr val="E3F3F1"/>
      </a:lt2>
      <a:accent1>
        <a:srgbClr val="E3F3F1"/>
      </a:accent1>
      <a:accent2>
        <a:srgbClr val="C9E9E6"/>
      </a:accent2>
      <a:accent3>
        <a:srgbClr val="9CC6CA"/>
      </a:accent3>
      <a:accent4>
        <a:srgbClr val="2D657D"/>
      </a:accent4>
      <a:accent5>
        <a:srgbClr val="004C64"/>
      </a:accent5>
      <a:accent6>
        <a:srgbClr val="58C5C7"/>
      </a:accent6>
      <a:hlink>
        <a:srgbClr val="008EBB"/>
      </a:hlink>
      <a:folHlink>
        <a:srgbClr val="008EBB"/>
      </a:folHlink>
    </a:clrScheme>
    <a:fontScheme name="NIRAS Theme 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IRIT" id="{D5BE835B-F0EC-4ABC-8377-25CF46520760}" vid="{47DE0B42-59BD-4573-AC26-185581AE4FAC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NIRAS 000 (Corporate)">
      <a:srgbClr val="BA1223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OCK 111">
      <a:srgbClr val="F2F1EC"/>
    </a:custClr>
    <a:custClr name="ROCK 122">
      <a:srgbClr val="DCD5CF"/>
    </a:custClr>
    <a:custClr name="ROCK 133">
      <a:srgbClr val="C3C3BD"/>
    </a:custClr>
    <a:custClr name="ROCK 144">
      <a:srgbClr val="8D918D"/>
    </a:custClr>
    <a:custClr name="ROCK 155">
      <a:srgbClr val="65625E"/>
    </a:custClr>
    <a:custClr name="ROCK 166">
      <a:srgbClr val="454038"/>
    </a:custClr>
    <a:custClr name="Color has no name">
      <a:srgbClr val="FFFFFF"/>
    </a:custClr>
    <a:custClr name="LAVA 100 (Attention)">
      <a:srgbClr val="F28903"/>
    </a:custClr>
    <a:custClr name="Color has no name">
      <a:srgbClr val="FFFFFF"/>
    </a:custClr>
    <a:custClr name="Color has no name">
      <a:srgbClr val="FFFFFF"/>
    </a:custClr>
    <a:custClr name="LIFE 211">
      <a:srgbClr val="EBEFE4"/>
    </a:custClr>
    <a:custClr name="LIFE 222">
      <a:srgbClr val="DBE4B5"/>
    </a:custClr>
    <a:custClr name="LIFE 233">
      <a:srgbClr val="B8CD96"/>
    </a:custClr>
    <a:custClr name="LIFE 244">
      <a:srgbClr val="7CA37F"/>
    </a:custClr>
    <a:custClr name="LIFE 255">
      <a:srgbClr val="36706B"/>
    </a:custClr>
    <a:custClr name="LIFE 266">
      <a:srgbClr val="1F4843"/>
    </a:custClr>
    <a:custClr name="Color has no name">
      <a:srgbClr val="FFFFFF"/>
    </a:custClr>
    <a:custClr name="WILD 200 (Attention)">
      <a:srgbClr val="84C55E"/>
    </a:custClr>
    <a:custClr name="Color has no name">
      <a:srgbClr val="FFFFFF"/>
    </a:custClr>
    <a:custClr name="Color has no name">
      <a:srgbClr val="FFFFFF"/>
    </a:custClr>
    <a:custClr name="SPIRIT 311">
      <a:srgbClr val="E3F3F1"/>
    </a:custClr>
    <a:custClr name="SPIRIT 322">
      <a:srgbClr val="C9E9E6"/>
    </a:custClr>
    <a:custClr name="SPIRIT 333">
      <a:srgbClr val="9CC6CA"/>
    </a:custClr>
    <a:custClr name="SPIRIT 344">
      <a:srgbClr val="7195A6"/>
    </a:custClr>
    <a:custClr name="SPIRIT 355">
      <a:srgbClr val="2D657D"/>
    </a:custClr>
    <a:custClr name="SPIRIT 366">
      <a:srgbClr val="004C64"/>
    </a:custClr>
    <a:custClr name="Color has no name">
      <a:srgbClr val="FFFFFF"/>
    </a:custClr>
    <a:custClr name="PURE 300 (Attention)">
      <a:srgbClr val="4BC1C3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NIRAS 000 (Corporate)">
      <a:srgbClr val="BA1223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OCK 111">
      <a:srgbClr val="F2F1EC"/>
    </a:custClr>
    <a:custClr name="ROCK 122">
      <a:srgbClr val="DCD5CF"/>
    </a:custClr>
    <a:custClr name="ROCK 133">
      <a:srgbClr val="C3C3BD"/>
    </a:custClr>
    <a:custClr name="ROCK 144">
      <a:srgbClr val="8D918D"/>
    </a:custClr>
    <a:custClr name="ROCK 155">
      <a:srgbClr val="65625E"/>
    </a:custClr>
    <a:custClr name="ROCK 166">
      <a:srgbClr val="454038"/>
    </a:custClr>
    <a:custClr name="Color has no name">
      <a:srgbClr val="FFFFFF"/>
    </a:custClr>
    <a:custClr name="LAVA 100 (Attention)">
      <a:srgbClr val="F28903"/>
    </a:custClr>
    <a:custClr name="Color has no name">
      <a:srgbClr val="FFFFFF"/>
    </a:custClr>
    <a:custClr name="Color has no name">
      <a:srgbClr val="FFFFFF"/>
    </a:custClr>
    <a:custClr name="LIFE 211">
      <a:srgbClr val="EBEFE4"/>
    </a:custClr>
    <a:custClr name="LIFE 222">
      <a:srgbClr val="DBE4B5"/>
    </a:custClr>
    <a:custClr name="LIFE 233">
      <a:srgbClr val="B8CD96"/>
    </a:custClr>
    <a:custClr name="LIFE 244">
      <a:srgbClr val="7CA37F"/>
    </a:custClr>
    <a:custClr name="LIFE 255">
      <a:srgbClr val="36706B"/>
    </a:custClr>
    <a:custClr name="LIFE 266">
      <a:srgbClr val="1F4843"/>
    </a:custClr>
    <a:custClr name="Color has no name">
      <a:srgbClr val="FFFFFF"/>
    </a:custClr>
    <a:custClr name="WILD 200 (Attention)">
      <a:srgbClr val="84C55E"/>
    </a:custClr>
    <a:custClr name="Color has no name">
      <a:srgbClr val="FFFFFF"/>
    </a:custClr>
    <a:custClr name="Color has no name">
      <a:srgbClr val="FFFFFF"/>
    </a:custClr>
    <a:custClr name="SPIRIT 311">
      <a:srgbClr val="E3F3F1"/>
    </a:custClr>
    <a:custClr name="SPIRIT 322">
      <a:srgbClr val="C9E9E6"/>
    </a:custClr>
    <a:custClr name="SPIRIT 333">
      <a:srgbClr val="9CC6CA"/>
    </a:custClr>
    <a:custClr name="SPIRIT 344">
      <a:srgbClr val="7195A6"/>
    </a:custClr>
    <a:custClr name="SPIRIT 355">
      <a:srgbClr val="2D657D"/>
    </a:custClr>
    <a:custClr name="SPIRIT 366">
      <a:srgbClr val="004C64"/>
    </a:custClr>
    <a:custClr name="Color has no name">
      <a:srgbClr val="FFFFFF"/>
    </a:custClr>
    <a:custClr name="PURE 300 (Attention)">
      <a:srgbClr val="4BC1C3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Project Document" ma:contentTypeID="0x010100DCD90FCC66DA8F4C882C689D6817D41B005A87625E921FD34B81952E6DE342B48C" ma:contentTypeVersion="50" ma:contentTypeDescription="Create a new document." ma:contentTypeScope="" ma:versionID="00c77e426565b892107fdc2f8fc7c816">
  <xsd:schema xmlns:xsd="http://www.w3.org/2001/XMLSchema" xmlns:xs="http://www.w3.org/2001/XMLSchema" xmlns:p="http://schemas.microsoft.com/office/2006/metadata/properties" xmlns:ns2="36389baf-d775-4142-9ba9-987d54fbb0d5" xmlns:ns3="63ea2c6c-c38e-49f9-871e-2460f031d9d4" xmlns:ns4="6bc57955-cc82-48c6-890d-44d7753ac846" targetNamespace="http://schemas.microsoft.com/office/2006/metadata/properties" ma:root="true" ma:fieldsID="8668b96afe39a67dff34902782b5d1fa" ns2:_="" ns3:_="" ns4:_="">
    <xsd:import namespace="36389baf-d775-4142-9ba9-987d54fbb0d5"/>
    <xsd:import namespace="63ea2c6c-c38e-49f9-871e-2460f031d9d4"/>
    <xsd:import namespace="6bc57955-cc82-48c6-890d-44d7753ac846"/>
    <xsd:element name="properties">
      <xsd:complexType>
        <xsd:sequence>
          <xsd:element name="documentManagement">
            <xsd:complexType>
              <xsd:all>
                <xsd:element ref="ns2:NIRASProjectID" minOccurs="0"/>
                <xsd:element ref="ns2:NIRASCreatedDate" minOccurs="0"/>
                <xsd:element ref="ns2:DocumentRevisionId" minOccurs="0"/>
                <xsd:element ref="ns2:DocumentRevisionIdPublished" minOccurs="0"/>
                <xsd:element ref="ns2:NIRASRevisionDate" minOccurs="0"/>
                <xsd:element ref="ns2:NIRASScaleTxt" minOccurs="0"/>
                <xsd:element ref="ns2:NIRASSortOrder" minOccurs="0"/>
                <xsd:element ref="ns2:Delivery" minOccurs="0"/>
                <xsd:element ref="ns2:NIRASDocumentNo" minOccurs="0"/>
                <xsd:element ref="ns2:NIRASOldModifiedBy" minOccurs="0"/>
                <xsd:element ref="ns2:i5700158192d457fa5a55d94ad1f5c8a" minOccurs="0"/>
                <xsd:element ref="ns2:da20537ee97d477b961033ada76c4a82" minOccurs="0"/>
                <xsd:element ref="ns2:b20adbee33c84350ab297149ab7609e1" minOccurs="0"/>
                <xsd:element ref="ns2:TaxCatchAllLabel" minOccurs="0"/>
                <xsd:element ref="ns2:TaxCatchAll" minOccurs="0"/>
                <xsd:element ref="ns2:o7ddbb95048e4674b1961839f647280e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FastMetadata" minOccurs="0"/>
                <xsd:element ref="ns3:MediaServiceAutoTags" minOccurs="0"/>
                <xsd:element ref="ns3:TypeTEST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Metadata" minOccurs="0"/>
                <xsd:element ref="ns4:_dlc_DocId" minOccurs="0"/>
                <xsd:element ref="ns4:_dlc_DocIdUrl" minOccurs="0"/>
                <xsd:element ref="ns4:_dlc_DocIdPersistId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389baf-d775-4142-9ba9-987d54fbb0d5" elementFormDefault="qualified">
    <xsd:import namespace="http://schemas.microsoft.com/office/2006/documentManagement/types"/>
    <xsd:import namespace="http://schemas.microsoft.com/office/infopath/2007/PartnerControls"/>
    <xsd:element name="NIRASProjectID" ma:index="2" nillable="true" ma:displayName="Project ID" ma:internalName="NIRASProjectID">
      <xsd:simpleType>
        <xsd:restriction base="dms:Text"/>
      </xsd:simpleType>
    </xsd:element>
    <xsd:element name="NIRASCreatedDate" ma:index="3" nillable="true" ma:displayName="First issue date" ma:format="DateOnly" ma:internalName="NIRASCreatedDate" ma:readOnly="false">
      <xsd:simpleType>
        <xsd:restriction base="dms:DateTime"/>
      </xsd:simpleType>
    </xsd:element>
    <xsd:element name="DocumentRevisionId" ma:index="5" nillable="true" ma:displayName="Revision" ma:internalName="DocumentRevisionId">
      <xsd:simpleType>
        <xsd:restriction base="dms:Text"/>
      </xsd:simpleType>
    </xsd:element>
    <xsd:element name="DocumentRevisionIdPublished" ma:index="6" nillable="true" ma:displayName="Last published revision" ma:internalName="DocumentRevisionIdPublished">
      <xsd:simpleType>
        <xsd:restriction base="dms:Text"/>
      </xsd:simpleType>
    </xsd:element>
    <xsd:element name="NIRASRevisionDate" ma:index="7" nillable="true" ma:displayName="Revision date" ma:internalName="NIRASRevisionDate">
      <xsd:simpleType>
        <xsd:restriction base="dms:DateTime"/>
      </xsd:simpleType>
    </xsd:element>
    <xsd:element name="NIRASScaleTxt" ma:index="9" nillable="true" ma:displayName="Scale" ma:internalName="NIRASScaleTxt">
      <xsd:simpleType>
        <xsd:restriction base="dms:Text">
          <xsd:maxLength value="255"/>
        </xsd:restriction>
      </xsd:simpleType>
    </xsd:element>
    <xsd:element name="NIRASSortOrder" ma:index="11" nillable="true" ma:displayName="Sort order" ma:internalName="NIRASSortOrder">
      <xsd:simpleType>
        <xsd:restriction base="dms:Number"/>
      </xsd:simpleType>
    </xsd:element>
    <xsd:element name="Delivery" ma:index="12" nillable="true" ma:displayName="Delivery" ma:list="{fbe57424-0f36-45db-a650-9a2016afd9d0}" ma:internalName="Delivery" ma:readOnly="false" ma:showField="NIRASDocListName" ma:web="6bc57955-cc82-48c6-890d-44d7753ac8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NIRASDocumentNo" ma:index="13" nillable="true" ma:displayName="Old document ID" ma:description="Old document number from source system" ma:internalName="NIRASDocumentNo" ma:readOnly="false">
      <xsd:simpleType>
        <xsd:restriction base="dms:Text">
          <xsd:maxLength value="255"/>
        </xsd:restriction>
      </xsd:simpleType>
    </xsd:element>
    <xsd:element name="NIRASOldModifiedBy" ma:index="14" nillable="true" ma:displayName="Old modified by" ma:internalName="NIRASOldModifiedBy" ma:readOnly="false">
      <xsd:simpleType>
        <xsd:restriction base="dms:Text">
          <xsd:maxLength value="255"/>
        </xsd:restriction>
      </xsd:simpleType>
    </xsd:element>
    <xsd:element name="i5700158192d457fa5a55d94ad1f5c8a" ma:index="16" nillable="true" ma:taxonomy="true" ma:internalName="i5700158192d457fa5a55d94ad1f5c8a" ma:taxonomyFieldName="NIRASScale" ma:displayName="Scale_Old" ma:readOnly="false" ma:default="" ma:fieldId="{25700158-192d-457f-a5a5-5d94ad1f5c8a}" ma:sspId="ab2600de-030e-40a3-a341-c72395049305" ma:termSetId="3e7e8768-c6c9-4058-bd1b-2f646ad16eb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a20537ee97d477b961033ada76c4a82" ma:index="22" nillable="true" ma:taxonomy="true" ma:internalName="da20537ee97d477b961033ada76c4a82" ma:taxonomyFieldName="NIRASQAStatus" ma:displayName="QA Status" ma:readOnly="false" ma:default="" ma:fieldId="{da20537e-e97d-477b-9610-33ada76c4a82}" ma:sspId="ab2600de-030e-40a3-a341-c72395049305" ma:termSetId="94d4a05f-61b3-4765-97ef-9ba750d26c8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20adbee33c84350ab297149ab7609e1" ma:index="23" nillable="true" ma:taxonomy="true" ma:internalName="b20adbee33c84350ab297149ab7609e1" ma:taxonomyFieldName="NIRASDocumentKind" ma:displayName="Document content" ma:readOnly="false" ma:default="" ma:fieldId="{b20adbee-33c8-4350-ab29-7149ab7609e1}" ma:taxonomyMulti="true" ma:sspId="ab2600de-030e-40a3-a341-c72395049305" ma:termSetId="0c6706ef-2aa8-49e9-8152-ee2cbb588c7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Label" ma:index="24" nillable="true" ma:displayName="Taxonomy Catch All Column1" ma:hidden="true" ma:list="{9fbe3a53-2edc-456d-acfa-2c36a61867c7}" ma:internalName="TaxCatchAllLabel" ma:readOnly="true" ma:showField="CatchAllDataLabel" ma:web="6bc57955-cc82-48c6-890d-44d7753ac8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25" nillable="true" ma:displayName="Taxonomy Catch All Column" ma:hidden="true" ma:list="{9fbe3a53-2edc-456d-acfa-2c36a61867c7}" ma:internalName="TaxCatchAll" ma:showField="CatchAllData" ma:web="6bc57955-cc82-48c6-890d-44d7753ac8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7ddbb95048e4674b1961839f647280e" ma:index="26" nillable="true" ma:taxonomy="true" ma:internalName="o7ddbb95048e4674b1961839f647280e" ma:taxonomyFieldName="NIRASQAGroup" ma:displayName="Country" ma:readOnly="false" ma:default="" ma:fieldId="{87ddbb95-048e-4674-b196-1839f647280e}" ma:taxonomyMulti="true" ma:sspId="ab2600de-030e-40a3-a341-c72395049305" ma:termSetId="6fd9237d-65aa-4da7-afa0-2c7efb1a215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ea2c6c-c38e-49f9-871e-2460f031d9d4" elementFormDefault="qualified">
    <xsd:import namespace="http://schemas.microsoft.com/office/2006/documentManagement/types"/>
    <xsd:import namespace="http://schemas.microsoft.com/office/infopath/2007/PartnerControls"/>
    <xsd:element name="MediaServiceGenerationTime" ma:index="2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30" nillable="true" ma:displayName="Length (seconds)" ma:internalName="MediaLengthInSeconds" ma:readOnly="true">
      <xsd:simpleType>
        <xsd:restriction base="dms:Unknown"/>
      </xsd:simpleType>
    </xsd:element>
    <xsd:element name="MediaServiceFastMetadata" ma:index="3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32" nillable="true" ma:displayName="Tags" ma:internalName="MediaServiceAutoTags" ma:readOnly="true">
      <xsd:simpleType>
        <xsd:restriction base="dms:Text"/>
      </xsd:simpleType>
    </xsd:element>
    <xsd:element name="TypeTEST" ma:index="33" nillable="true" ma:displayName="Type TEST" ma:format="Dropdown" ma:indexed="true" ma:internalName="TypeTEST">
      <xsd:simpleType>
        <xsd:restriction base="dms:Text">
          <xsd:maxLength value="255"/>
        </xsd:restriction>
      </xsd:simpleType>
    </xsd:element>
    <xsd:element name="MediaServiceDateTaken" ma:index="3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3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36" nillable="true" ma:displayName="Location" ma:internalName="MediaServiceLocation" ma:readOnly="true">
      <xsd:simpleType>
        <xsd:restriction base="dms:Text"/>
      </xsd:simpleType>
    </xsd:element>
    <xsd:element name="MediaServiceMetadata" ma:index="37" nillable="true" ma:displayName="MediaServiceMetadata" ma:hidden="true" ma:internalName="MediaServiceMetadata" ma:readOnly="true">
      <xsd:simpleType>
        <xsd:restriction base="dms:Note"/>
      </xsd:simpleType>
    </xsd:element>
    <xsd:element name="MediaServiceAutoKeyPoints" ma:index="4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4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c57955-cc82-48c6-890d-44d7753ac846" elementFormDefault="qualified">
    <xsd:import namespace="http://schemas.microsoft.com/office/2006/documentManagement/types"/>
    <xsd:import namespace="http://schemas.microsoft.com/office/infopath/2007/PartnerControls"/>
    <xsd:element name="_dlc_DocId" ma:index="3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3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4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7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IRASProjectID xmlns="36389baf-d775-4142-9ba9-987d54fbb0d5">ITEK.APP</NIRASProjectID>
    <da20537ee97d477b961033ada76c4a82 xmlns="36389baf-d775-4142-9ba9-987d54fbb0d5">
      <Terms xmlns="http://schemas.microsoft.com/office/infopath/2007/PartnerControls"/>
    </da20537ee97d477b961033ada76c4a82>
    <NIRASCreatedDate xmlns="36389baf-d775-4142-9ba9-987d54fbb0d5" xsi:nil="true"/>
    <Delivery xmlns="36389baf-d775-4142-9ba9-987d54fbb0d5"/>
    <i5700158192d457fa5a55d94ad1f5c8a xmlns="36389baf-d775-4142-9ba9-987d54fbb0d5">
      <Terms xmlns="http://schemas.microsoft.com/office/infopath/2007/PartnerControls"/>
    </i5700158192d457fa5a55d94ad1f5c8a>
    <b20adbee33c84350ab297149ab7609e1 xmlns="36389baf-d775-4142-9ba9-987d54fbb0d5">
      <Terms xmlns="http://schemas.microsoft.com/office/infopath/2007/PartnerControls"/>
    </b20adbee33c84350ab297149ab7609e1>
    <NIRASDocumentNo xmlns="36389baf-d775-4142-9ba9-987d54fbb0d5" xsi:nil="true"/>
    <DocumentRevisionIdPublished xmlns="36389baf-d775-4142-9ba9-987d54fbb0d5" xsi:nil="true"/>
    <DocumentRevisionId xmlns="36389baf-d775-4142-9ba9-987d54fbb0d5" xsi:nil="true"/>
    <NIRASRevisionDate xmlns="36389baf-d775-4142-9ba9-987d54fbb0d5" xsi:nil="true"/>
    <NIRASSortOrder xmlns="36389baf-d775-4142-9ba9-987d54fbb0d5" xsi:nil="true"/>
    <TaxCatchAll xmlns="36389baf-d775-4142-9ba9-987d54fbb0d5" xsi:nil="true"/>
    <NIRASOldModifiedBy xmlns="36389baf-d775-4142-9ba9-987d54fbb0d5" xsi:nil="true"/>
    <NIRASScaleTxt xmlns="36389baf-d775-4142-9ba9-987d54fbb0d5" xsi:nil="true"/>
    <_dlc_DocId xmlns="6bc57955-cc82-48c6-890d-44d7753ac846">VPTDFWQ563D2-1375287143-18042</_dlc_DocId>
    <_dlc_DocIdUrl xmlns="6bc57955-cc82-48c6-890d-44d7753ac846">
      <Url>https://niras.sharepoint.com/sites/10008.DIGT/_layouts/15/DocIdRedir.aspx?ID=VPTDFWQ563D2-1375287143-18042</Url>
      <Description>VPTDFWQ563D2-1375287143-18042</Description>
    </_dlc_DocIdUrl>
    <o7ddbb95048e4674b1961839f647280e xmlns="36389baf-d775-4142-9ba9-987d54fbb0d5">
      <Terms xmlns="http://schemas.microsoft.com/office/infopath/2007/PartnerControls"/>
    </o7ddbb95048e4674b1961839f647280e>
    <TypeTEST xmlns="63ea2c6c-c38e-49f9-871e-2460f031d9d4" xsi:nil="true"/>
  </documentManagement>
</p:properties>
</file>

<file path=customXml/item5.xml><?xml version="1.0" encoding="utf-8"?>
<?mso-contentType ?>
<SharedContentType xmlns="Microsoft.SharePoint.Taxonomy.ContentTypeSync" SourceId="ab2600de-030e-40a3-a341-c72395049305" ContentTypeId="0x010100DCD90FCC66DA8F4C882C689D6817D41B" PreviousValue="false"/>
</file>

<file path=customXml/itemProps1.xml><?xml version="1.0" encoding="utf-8"?>
<ds:datastoreItem xmlns:ds="http://schemas.openxmlformats.org/officeDocument/2006/customXml" ds:itemID="{B5F87542-0E6A-4EE6-B249-848BBDE6BB16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B73EED92-00F7-438E-88F7-C2AB3DEFFD8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D6A9876-6BEF-42DE-BB3E-2486CBAAFD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389baf-d775-4142-9ba9-987d54fbb0d5"/>
    <ds:schemaRef ds:uri="63ea2c6c-c38e-49f9-871e-2460f031d9d4"/>
    <ds:schemaRef ds:uri="6bc57955-cc82-48c6-890d-44d7753ac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6EA6CBF5-F33D-4A58-9C5C-F684761988F0}">
  <ds:schemaRefs>
    <ds:schemaRef ds:uri="63ea2c6c-c38e-49f9-871e-2460f031d9d4"/>
    <ds:schemaRef ds:uri="http://www.w3.org/XML/1998/namespace"/>
    <ds:schemaRef ds:uri="http://purl.org/dc/terms/"/>
    <ds:schemaRef ds:uri="36389baf-d775-4142-9ba9-987d54fbb0d5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6bc57955-cc82-48c6-890d-44d7753ac846"/>
    <ds:schemaRef ds:uri="http://schemas.microsoft.com/office/2006/documentManagement/types"/>
    <ds:schemaRef ds:uri="http://schemas.microsoft.com/office/infopath/2007/PartnerControls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B56330D1-DC2C-4BDF-9FAB-16C964A58270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93</Words>
  <Application>Microsoft Office PowerPoint</Application>
  <PresentationFormat>Widescreen</PresentationFormat>
  <Paragraphs>210</Paragraphs>
  <Slides>15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0" baseType="lpstr">
      <vt:lpstr>Aktiv Grotesk Light</vt:lpstr>
      <vt:lpstr>-apple-system</vt:lpstr>
      <vt:lpstr>Arial</vt:lpstr>
      <vt:lpstr>Calibri</vt:lpstr>
      <vt:lpstr>Gill Sans</vt:lpstr>
      <vt:lpstr>Lato</vt:lpstr>
      <vt:lpstr>Lato Regular</vt:lpstr>
      <vt:lpstr>Palatino Linotype</vt:lpstr>
      <vt:lpstr>Segoe UI</vt:lpstr>
      <vt:lpstr>Segoe UI Black</vt:lpstr>
      <vt:lpstr>Segoe UI Light</vt:lpstr>
      <vt:lpstr>Verdana Pro Cond Light</vt:lpstr>
      <vt:lpstr>Wingdings</vt:lpstr>
      <vt:lpstr>SPIRIT</vt:lpstr>
      <vt:lpstr>think-cell Slide</vt:lpstr>
      <vt:lpstr>PowerPoint Presentation</vt:lpstr>
      <vt:lpstr>LBS og projektstyring</vt:lpstr>
      <vt:lpstr>Mængdebaseret planlægning</vt:lpstr>
      <vt:lpstr>PowerPoint Presentation</vt:lpstr>
      <vt:lpstr>PowerPoint Presentation</vt:lpstr>
      <vt:lpstr>PowerPoint Presentation</vt:lpstr>
      <vt:lpstr>PowerPoint Presentation</vt:lpstr>
      <vt:lpstr>Lokationer</vt:lpstr>
      <vt:lpstr>Web-App - Koordinering</vt:lpstr>
      <vt:lpstr>Web-App – 4D</vt:lpstr>
      <vt:lpstr>LD-BIM (BIM Viewer og mere)</vt:lpstr>
      <vt:lpstr>LBS og projektstyring</vt:lpstr>
      <vt:lpstr>PowerPoint Presentation</vt:lpstr>
      <vt:lpstr>Håndtering af designændringer</vt:lpstr>
      <vt:lpstr>Håndtering af designændring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4-26T07:52:50Z</dcterms:created>
  <dcterms:modified xsi:type="dcterms:W3CDTF">2022-06-16T14:32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IRASScale">
    <vt:lpwstr/>
  </property>
  <property fmtid="{D5CDD505-2E9C-101B-9397-08002B2CF9AE}" pid="3" name="NIRASQAStatus">
    <vt:lpwstr/>
  </property>
  <property fmtid="{D5CDD505-2E9C-101B-9397-08002B2CF9AE}" pid="4" name="NIRASDocumentKind">
    <vt:lpwstr/>
  </property>
  <property fmtid="{D5CDD505-2E9C-101B-9397-08002B2CF9AE}" pid="5" name="ContentTypeId">
    <vt:lpwstr>0x010100DCD90FCC66DA8F4C882C689D6817D41B005A87625E921FD34B81952E6DE342B48C</vt:lpwstr>
  </property>
  <property fmtid="{D5CDD505-2E9C-101B-9397-08002B2CF9AE}" pid="6" name="NIRASQAGroup">
    <vt:lpwstr/>
  </property>
  <property fmtid="{D5CDD505-2E9C-101B-9397-08002B2CF9AE}" pid="7" name="ApplyLanguageRun">
    <vt:lpwstr>true</vt:lpwstr>
  </property>
  <property fmtid="{D5CDD505-2E9C-101B-9397-08002B2CF9AE}" pid="8" name="_dlc_DocIdItemGuid">
    <vt:lpwstr>947e317e-db0c-44f9-938f-62dd51300e1e</vt:lpwstr>
  </property>
</Properties>
</file>